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7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1"/>
    <p:sldMasterId id="2147483689" r:id="rId2"/>
  </p:sldMasterIdLst>
  <p:notesMasterIdLst>
    <p:notesMasterId r:id="rId28"/>
  </p:notesMasterIdLst>
  <p:sldIdLst>
    <p:sldId id="269" r:id="rId3"/>
    <p:sldId id="268" r:id="rId4"/>
    <p:sldId id="264" r:id="rId5"/>
    <p:sldId id="259" r:id="rId6"/>
    <p:sldId id="305" r:id="rId7"/>
    <p:sldId id="260" r:id="rId8"/>
    <p:sldId id="265" r:id="rId9"/>
    <p:sldId id="261" r:id="rId10"/>
    <p:sldId id="306" r:id="rId11"/>
    <p:sldId id="271" r:id="rId12"/>
    <p:sldId id="266" r:id="rId13"/>
    <p:sldId id="308" r:id="rId14"/>
    <p:sldId id="270" r:id="rId15"/>
    <p:sldId id="262" r:id="rId16"/>
    <p:sldId id="267" r:id="rId17"/>
    <p:sldId id="272" r:id="rId18"/>
    <p:sldId id="307" r:id="rId19"/>
    <p:sldId id="309" r:id="rId20"/>
    <p:sldId id="302" r:id="rId21"/>
    <p:sldId id="301" r:id="rId22"/>
    <p:sldId id="274" r:id="rId23"/>
    <p:sldId id="303" r:id="rId24"/>
    <p:sldId id="256" r:id="rId25"/>
    <p:sldId id="310" r:id="rId26"/>
    <p:sldId id="304" r:id="rId27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D64F"/>
    <a:srgbClr val="0D3787"/>
    <a:srgbClr val="F7A745"/>
    <a:srgbClr val="FAD34D"/>
    <a:srgbClr val="B9D2FD"/>
    <a:srgbClr val="F7B445"/>
    <a:srgbClr val="6C79BA"/>
    <a:srgbClr val="0F65B4"/>
    <a:srgbClr val="D686A1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225" autoAdjust="0"/>
    <p:restoredTop sz="94620" autoAdjust="0"/>
  </p:normalViewPr>
  <p:slideViewPr>
    <p:cSldViewPr snapToGrid="0">
      <p:cViewPr varScale="1">
        <p:scale>
          <a:sx n="68" d="100"/>
          <a:sy n="68" d="100"/>
        </p:scale>
        <p:origin x="402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577D22-AD28-43FC-8EB4-B134A7D334C3}" type="datetimeFigureOut">
              <a:rPr lang="zh-CN" altLang="en-US" smtClean="0"/>
              <a:t>2021/3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8C8EFA-96ED-4A18-B46D-8BDC030E3AF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163643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eepik.com/free-photo/top-view-hand-holding-phone-with-laptop_5575929.htm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eepik.com/free-photo/distanced-front-view-lahmacun-dough-with-minced-meat-along-with-greens-lemon-inside-paper-box-tasty-pastry-meal_9159057.htm#page=5&amp;query=food+box&amp;position=6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www.freepik.com/free-photo/asian-fast-food-with-chopsticks_5111290.htm" TargetMode="External"/><Relationship Id="rId4" Type="http://schemas.openxmlformats.org/officeDocument/2006/relationships/hyperlink" Target="https://www.freepik.com/free-photo/box-fried-chicken-wooden-table_5370776.htm#page=2&amp;query=food+box&amp;position=3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70653B-8FC2-4C8E-B0DB-DC6058263EA5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39323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" name="Google Shape;1019;g98a29d3b26_3_4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0" name="Google Shape;1020;g98a29d3b26_3_48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384177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" name="Google Shape;1019;g98a29d3b26_3_4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0" name="Google Shape;1020;g98a29d3b26_3_48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32379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" name="Google Shape;1019;g98a29d3b26_3_4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0" name="Google Shape;1020;g98a29d3b26_3_48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dirty="0">
                <a:hlinkClick r:id="rId3"/>
              </a:rPr>
              <a:t>https://www.freepik.com/free-photo/top-view-hand-holding-phone-with-laptop_5575929.htm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CD8BC6-B59B-4C55-9773-B2375864C73E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72600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70653B-8FC2-4C8E-B0DB-DC6058263EA5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78723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" name="Google Shape;1019;g98a29d3b26_3_4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0" name="Google Shape;1020;g98a29d3b26_3_48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15019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" name="Google Shape;1019;g98a29d3b26_3_4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0" name="Google Shape;1020;g98a29d3b26_3_48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936743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70653B-8FC2-4C8E-B0DB-DC6058263EA5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62781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70653B-8FC2-4C8E-B0DB-DC6058263EA5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77231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" name="Google Shape;1019;g98a29d3b26_3_4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0" name="Google Shape;1020;g98a29d3b26_3_48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552373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CD8BC6-B59B-4C55-9773-B2375864C73E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42562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9" name="Google Shape;1019;g98a29d3b26_3_4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0" name="Google Shape;1020;g98a29d3b26_3_48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4457012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70653B-8FC2-4C8E-B0DB-DC6058263EA5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35333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>
                <a:hlinkClick r:id="rId3"/>
              </a:rPr>
              <a:t>https://www.freepik.com/free-photo/distanced-front-view-lahmacun-dough-with-minced-meat-along-with-greens-lemon-inside-paper-box-tasty-pastry-meal_9159057.htm#page=5&amp;query=food+box&amp;position=6</a:t>
            </a:r>
            <a:endParaRPr lang="en-ID" dirty="0"/>
          </a:p>
          <a:p>
            <a:r>
              <a:rPr lang="en-ID" dirty="0">
                <a:hlinkClick r:id="rId4"/>
              </a:rPr>
              <a:t>https://www.freepik.com/free-photo/box-fried-chicken-wooden-table_5370776.htm#page=2&amp;query=food+box&amp;position=3</a:t>
            </a:r>
            <a:endParaRPr lang="en-ID" dirty="0"/>
          </a:p>
          <a:p>
            <a:r>
              <a:rPr lang="en-ID" dirty="0">
                <a:hlinkClick r:id="rId5"/>
              </a:rPr>
              <a:t>https://www.freepik.com/free-photo/asian-fast-food-with-chopsticks_5111290.htm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CD8BC6-B59B-4C55-9773-B2375864C73E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43619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1ppt.com/moban/" TargetMode="Externa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6F4060-3843-4BDA-AFE7-91CF8B568D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A568F0-ECA3-4735-B236-B9C372347A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5C5863-5ECD-4497-9482-C174E89042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3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D52B2A-821A-42DE-ACFC-48411D412C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3D0BC7-C845-4442-B6D8-E3DD12385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952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67729E-77C2-4E92-8C57-7DBD0EEB75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47C5A88-A40B-4044-83F1-44C0373A8A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FAA6EF-AC01-4708-8F9B-AF2B741427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3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0E905C5-77E4-4981-9271-FE71EB78F5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6374A2-AED7-4CA7-A9FA-42D5A264B4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319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4DA6FB7-5895-48BA-AE4E-24C9C310D65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DCEB5B-8111-414D-83F9-E13732A449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C6FA23-7857-4788-9276-8BE5DD8734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3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2C2E70-2854-4AA7-B5BD-EDCA8DC76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E2114A-B8D8-4010-8D1B-7F9B22ECAD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077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74589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E3AAC11-D570-4EA9-AFC0-30FB72BA45EB}" type="datetimeFigureOut">
              <a:rPr lang="zh-CN" altLang="en-US" smtClean="0">
                <a:solidFill>
                  <a:prstClr val="black"/>
                </a:solidFill>
              </a:rPr>
              <a:pPr defTabSz="914400"/>
              <a:t>2021/3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914400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55ECCFAA-F4FB-487C-9F1E-C8836D0C3DC9}" type="slidenum">
              <a:rPr lang="zh-CN" altLang="en-US" smtClean="0">
                <a:solidFill>
                  <a:prstClr val="black"/>
                </a:solidFill>
              </a:rPr>
              <a:pPr defTabSz="914400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44328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2E3AAC11-D570-4EA9-AFC0-30FB72BA45EB}" type="datetimeFigureOut">
              <a:rPr lang="zh-CN" altLang="en-US" smtClean="0">
                <a:solidFill>
                  <a:prstClr val="black"/>
                </a:solidFill>
              </a:rPr>
              <a:pPr defTabSz="914400"/>
              <a:t>2021/3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914400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55ECCFAA-F4FB-487C-9F1E-C8836D0C3DC9}" type="slidenum">
              <a:rPr lang="zh-CN" altLang="en-US" smtClean="0">
                <a:solidFill>
                  <a:prstClr val="black"/>
                </a:solidFill>
              </a:rPr>
              <a:pPr defTabSz="914400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5782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35925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D220F-E595-4B99-A230-4D19ACEC1E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57D8A4-F175-4AF3-ABAB-06975B6A19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8374DB-50B9-4F4A-91FC-743AD209C2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3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058D5E-9E73-4250-AE7E-09B65781DC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5E515C-4AAF-44AE-8382-EAB37B4439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8869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4DC11E-DBDD-478C-8942-D796D93E4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C815BA-9A48-4BAE-B5D7-E94B2E7684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D4DB0D-4859-4500-BB11-B553B53EA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3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A7F24B-64C9-4086-9C1F-5FDC7F353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ED6FA0-C160-4C75-B17A-10C682A11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338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F3E26-23DB-4628-9777-B83DB9FF90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49572-03E7-41F1-9640-A87BBC54C3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8EC1CB-6A54-4EF1-912E-E4F2554F0F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249F65-8FF4-4A77-B206-F36BBE0C69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3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5BD97A-43EE-49C9-B68A-A589D60507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59F19A-3EBA-4133-80F0-D64A720A6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640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4F8B7E-0268-433F-B4C2-7112EA931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F13D1A-DCE6-4400-BD50-9B6653311E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64B76A-5656-4EC7-9DA5-342E61F789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9BD7FA-ECC3-45A0-85B1-23657B67637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AFDEFD4-8CF7-48AC-A7C7-316AE8C77FF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7A4850D-D698-4ED8-8BB2-908C5C0ADE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3/16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5608FE9-C1E9-4438-8F1E-BFC9FC1D2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8D21B1-7B65-49CD-A2A9-BCFF6496F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Box 10"/>
          <p:cNvSpPr txBox="1"/>
          <p:nvPr userDrawn="1"/>
        </p:nvSpPr>
        <p:spPr>
          <a:xfrm>
            <a:off x="2052848" y="6739570"/>
            <a:ext cx="1800200" cy="118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2"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2"/>
              </a:rPr>
              <a:t>模板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ttp://www.1ppt.com/moban/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endParaRPr kumimoji="0" lang="en-US" altLang="zh-CN" sz="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9831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BCA29-3622-4AD4-8DDE-6DE6298C0F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72BE0B-79C0-4287-93B1-4169ABEB22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3/16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F973CC-A125-4D1F-957E-37529DC26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71677D-F509-4B4C-A737-D6EB388F9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70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B652C67-F2E9-4A9E-99B0-6990E3A7DF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3/16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4FB625-F4C8-427C-80E0-AA0E71756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93234B-884A-4601-84EB-5F7FE4C39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499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EFA9C3-AC70-4E47-ADE9-06C56A5A6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E3CB41-F6AB-4042-8F20-3ACFE8A970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6DF5D4-1763-4F6B-B765-674367C8A6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CE06CC-F757-4883-8F8A-5AC8A44ADD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3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2B97B8-7713-45B6-897A-0F057CB65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9423C9-0E11-4B4C-9D69-0715D5AB7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98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BDFC09-FA2D-4C87-8ECB-68F4568142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FF9E6A3-AE9A-4B48-B4F3-6F1B4AE49BE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EFB6EC-24AE-4CE7-A437-855A5C57DE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D18F19-92AA-4F8C-9AE1-0C9D788BB9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88900-C735-4CEB-9CBA-8F2221E8E507}" type="datetimeFigureOut">
              <a:rPr lang="en-US" smtClean="0"/>
              <a:t>3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57C76A-D89E-4D24-99C7-93EC11AC3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943CA6-5CC1-4BD9-A27B-475E8D819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42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9BF3092-2DDC-4D76-AE7A-EC6EFD6DB6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98292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9BF3092-2DDC-4D76-AE7A-EC6EFD6DB6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3FD26A8-10CA-4EAC-812F-1EF385618CA3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40BD2E-BDF1-448D-933C-64819BD13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AEDCD9-00B1-4D61-B490-86E6DD1AEB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4E51F7-30CA-4C9A-91E4-608969E6E5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88900-C735-4CEB-9CBA-8F2221E8E507}" type="datetimeFigureOut">
              <a:rPr lang="en-US" smtClean="0"/>
              <a:t>3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D8EEA7-EA25-45CB-BEDC-1F7B9A908A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46C25C-E6F2-485B-BF7B-7267F2A82C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EF44A0-7777-4A95-9EBA-D58CA1F68D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200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  <p:sldLayoutId id="2147483688" r:id="rId12"/>
  </p:sldLayoutIdLst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="">
      <p:transition spd="slow" advClick="0" advTm="0">
        <p:random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8588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17.sv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svg"/><Relationship Id="rId4" Type="http://schemas.openxmlformats.org/officeDocument/2006/relationships/image" Target="../media/image1.emf"/><Relationship Id="rId9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1ppt.com/moban/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8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28E63E19-9671-481A-8343-113435A3EAC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  <a:ln>
            <a:noFill/>
          </a:ln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F69C38A1-4E52-4234-A7BE-F82C883D8A19}"/>
              </a:ext>
            </a:extLst>
          </p:cNvPr>
          <p:cNvSpPr txBox="1"/>
          <p:nvPr/>
        </p:nvSpPr>
        <p:spPr>
          <a:xfrm>
            <a:off x="5931407" y="1976347"/>
            <a:ext cx="554832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8000" b="1" i="1" dirty="0">
                <a:solidFill>
                  <a:srgbClr val="0D3787"/>
                </a:solidFill>
                <a:cs typeface="+mn-ea"/>
                <a:sym typeface="+mn-lt"/>
              </a:rPr>
              <a:t>BUSINESS</a:t>
            </a:r>
            <a:endParaRPr lang="zh-CN" altLang="en-US" sz="8000" b="1" i="1" dirty="0"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91DA1EC7-E500-45A6-B503-47FDDD19CF2D}"/>
              </a:ext>
            </a:extLst>
          </p:cNvPr>
          <p:cNvSpPr txBox="1"/>
          <p:nvPr/>
        </p:nvSpPr>
        <p:spPr>
          <a:xfrm>
            <a:off x="6259782" y="3334172"/>
            <a:ext cx="38404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2800" dirty="0">
                <a:solidFill>
                  <a:srgbClr val="0D3787"/>
                </a:solidFill>
                <a:cs typeface="+mn-ea"/>
                <a:sym typeface="+mn-lt"/>
              </a:rPr>
              <a:t>-Free PPT templates-</a:t>
            </a:r>
            <a:endParaRPr lang="zh-CN" altLang="en-US" sz="2800" dirty="0"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4A0A0689-0B1F-45B2-BE3D-3C0B8A70FCE0}"/>
              </a:ext>
            </a:extLst>
          </p:cNvPr>
          <p:cNvSpPr txBox="1"/>
          <p:nvPr/>
        </p:nvSpPr>
        <p:spPr>
          <a:xfrm>
            <a:off x="6349743" y="3983060"/>
            <a:ext cx="4434371" cy="5078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lang="en-US" sz="1100" kern="0" dirty="0">
                <a:solidFill>
                  <a:srgbClr val="0D378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SYNERGISTICALLY UTILIZE TECHNICALLY SOUND PORTALS WITH,</a:t>
            </a:r>
            <a:r>
              <a:rPr lang="en-US" altLang="zh-CN" sz="1100" kern="0" dirty="0">
                <a:solidFill>
                  <a:srgbClr val="0D378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 SYNERGISTICALLY UTILIZE TECHNICALLY SOUND</a:t>
            </a:r>
          </a:p>
        </p:txBody>
      </p:sp>
      <p:sp>
        <p:nvSpPr>
          <p:cNvPr id="9" name="îṧ1ïḋé">
            <a:extLst>
              <a:ext uri="{FF2B5EF4-FFF2-40B4-BE49-F238E27FC236}">
                <a16:creationId xmlns:a16="http://schemas.microsoft.com/office/drawing/2014/main" id="{D113C268-ADFB-4909-8696-82BBFEED0CF8}"/>
              </a:ext>
            </a:extLst>
          </p:cNvPr>
          <p:cNvSpPr/>
          <p:nvPr/>
        </p:nvSpPr>
        <p:spPr>
          <a:xfrm>
            <a:off x="6296010" y="4877414"/>
            <a:ext cx="2001014" cy="3693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/>
            <a:r>
              <a:rPr lang="en-US" altLang="zh-CN" dirty="0">
                <a:solidFill>
                  <a:srgbClr val="0D3787"/>
                </a:solidFill>
                <a:cs typeface="+mn-ea"/>
                <a:sym typeface="+mn-lt"/>
              </a:rPr>
              <a:t>www.jpppt.com</a:t>
            </a: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AF62A8DC-4BB6-4878-BDD9-218ED766CD50}"/>
              </a:ext>
            </a:extLst>
          </p:cNvPr>
          <p:cNvGrpSpPr/>
          <p:nvPr/>
        </p:nvGrpSpPr>
        <p:grpSpPr>
          <a:xfrm rot="5400000">
            <a:off x="4782369" y="927822"/>
            <a:ext cx="101370" cy="1330760"/>
            <a:chOff x="508216" y="2820579"/>
            <a:chExt cx="196770" cy="2583143"/>
          </a:xfrm>
          <a:solidFill>
            <a:srgbClr val="6C79BA"/>
          </a:solidFill>
        </p:grpSpPr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38A313E3-47EE-4791-BCDD-C2E4368DA3F3}"/>
                </a:ext>
              </a:extLst>
            </p:cNvPr>
            <p:cNvSpPr/>
            <p:nvPr/>
          </p:nvSpPr>
          <p:spPr>
            <a:xfrm>
              <a:off x="508217" y="2820579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215F0928-649A-446E-BBA5-AE15CD963E99}"/>
                </a:ext>
              </a:extLst>
            </p:cNvPr>
            <p:cNvCxnSpPr/>
            <p:nvPr/>
          </p:nvCxnSpPr>
          <p:spPr>
            <a:xfrm>
              <a:off x="606601" y="3222594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5AC3F212-4AC8-48CC-9CA3-C6773166BF3A}"/>
                </a:ext>
              </a:extLst>
            </p:cNvPr>
            <p:cNvSpPr/>
            <p:nvPr/>
          </p:nvSpPr>
          <p:spPr>
            <a:xfrm>
              <a:off x="508216" y="4013766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AC956244-FB94-403B-9504-3D52E98B26A2}"/>
                </a:ext>
              </a:extLst>
            </p:cNvPr>
            <p:cNvCxnSpPr/>
            <p:nvPr/>
          </p:nvCxnSpPr>
          <p:spPr>
            <a:xfrm>
              <a:off x="606600" y="4415781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E24508BF-391D-4D58-B96F-26E6CC67DD32}"/>
                </a:ext>
              </a:extLst>
            </p:cNvPr>
            <p:cNvSpPr/>
            <p:nvPr/>
          </p:nvSpPr>
          <p:spPr>
            <a:xfrm>
              <a:off x="508216" y="5206953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1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1658FE95-51F8-40A5-805B-C3E29930E391}"/>
              </a:ext>
            </a:extLst>
          </p:cNvPr>
          <p:cNvSpPr txBox="1"/>
          <p:nvPr/>
        </p:nvSpPr>
        <p:spPr>
          <a:xfrm>
            <a:off x="4179083" y="914787"/>
            <a:ext cx="2080699" cy="4657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lang="en-US" sz="700" kern="0" dirty="0">
                <a:solidFill>
                  <a:srgbClr val="6C79B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SYNERGISTICALLY UTILIZE TECHNICALLY SOUND PORTALS WITH FRICTIONLESS CHAINS</a:t>
            </a:r>
            <a:r>
              <a:rPr lang="en-US" altLang="zh-CN" sz="700" kern="0" dirty="0">
                <a:solidFill>
                  <a:srgbClr val="6C79BA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SYNERGISTICALLY</a:t>
            </a: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2CE7B118-B269-46FE-87C5-AB5DF9FDEE7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4854" y="538553"/>
            <a:ext cx="5977074" cy="5780894"/>
          </a:xfrm>
          <a:prstGeom prst="rect">
            <a:avLst/>
          </a:prstGeom>
        </p:spPr>
      </p:pic>
      <p:sp>
        <p:nvSpPr>
          <p:cNvPr id="20" name="Google Shape;537;p25">
            <a:extLst>
              <a:ext uri="{FF2B5EF4-FFF2-40B4-BE49-F238E27FC236}">
                <a16:creationId xmlns:a16="http://schemas.microsoft.com/office/drawing/2014/main" id="{AE907F6A-D1DC-4825-9686-AC11DDB42F61}"/>
              </a:ext>
            </a:extLst>
          </p:cNvPr>
          <p:cNvSpPr/>
          <p:nvPr/>
        </p:nvSpPr>
        <p:spPr>
          <a:xfrm rot="9266724">
            <a:off x="11510398" y="4872706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22" name="Google Shape;537;p25">
            <a:extLst>
              <a:ext uri="{FF2B5EF4-FFF2-40B4-BE49-F238E27FC236}">
                <a16:creationId xmlns:a16="http://schemas.microsoft.com/office/drawing/2014/main" id="{3BE5EC7A-D551-4619-B0AB-E6FFFA539A6B}"/>
              </a:ext>
            </a:extLst>
          </p:cNvPr>
          <p:cNvSpPr/>
          <p:nvPr/>
        </p:nvSpPr>
        <p:spPr>
          <a:xfrm rot="9266724">
            <a:off x="11510399" y="5272345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24" name="Google Shape;537;p25">
            <a:extLst>
              <a:ext uri="{FF2B5EF4-FFF2-40B4-BE49-F238E27FC236}">
                <a16:creationId xmlns:a16="http://schemas.microsoft.com/office/drawing/2014/main" id="{35EC7CF4-6615-488F-B44A-5A86D8B2BD89}"/>
              </a:ext>
            </a:extLst>
          </p:cNvPr>
          <p:cNvSpPr/>
          <p:nvPr/>
        </p:nvSpPr>
        <p:spPr>
          <a:xfrm rot="9266724">
            <a:off x="11505336" y="5640490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3274D99A-E1D7-404A-9E45-06E145259B50}"/>
              </a:ext>
            </a:extLst>
          </p:cNvPr>
          <p:cNvSpPr/>
          <p:nvPr/>
        </p:nvSpPr>
        <p:spPr>
          <a:xfrm>
            <a:off x="9813695" y="779362"/>
            <a:ext cx="844901" cy="844901"/>
          </a:xfrm>
          <a:prstGeom prst="ellipse">
            <a:avLst/>
          </a:prstGeom>
          <a:solidFill>
            <a:srgbClr val="FDD6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DA25F0B2-5317-42A7-8835-92206551DA9C}"/>
              </a:ext>
            </a:extLst>
          </p:cNvPr>
          <p:cNvSpPr/>
          <p:nvPr/>
        </p:nvSpPr>
        <p:spPr>
          <a:xfrm>
            <a:off x="8898965" y="1502302"/>
            <a:ext cx="485569" cy="485569"/>
          </a:xfrm>
          <a:prstGeom prst="ellipse">
            <a:avLst/>
          </a:prstGeom>
          <a:solidFill>
            <a:srgbClr val="FDD6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8240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 animBg="1"/>
      <p:bldP spid="9" grpId="0" animBg="1"/>
      <p:bldP spid="16" grpId="0" animBg="1"/>
      <p:bldP spid="19" grpId="0" animBg="1"/>
      <p:bldP spid="21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893A806F-E82D-487D-9D2B-84B38184CC82}"/>
              </a:ext>
            </a:extLst>
          </p:cNvPr>
          <p:cNvSpPr/>
          <p:nvPr/>
        </p:nvSpPr>
        <p:spPr>
          <a:xfrm>
            <a:off x="3986758" y="0"/>
            <a:ext cx="8205242" cy="6858000"/>
          </a:xfrm>
          <a:custGeom>
            <a:avLst/>
            <a:gdLst>
              <a:gd name="connsiteX0" fmla="*/ 6050384 w 8632154"/>
              <a:gd name="connsiteY0" fmla="*/ 0 h 6858000"/>
              <a:gd name="connsiteX1" fmla="*/ 8632154 w 8632154"/>
              <a:gd name="connsiteY1" fmla="*/ 0 h 6858000"/>
              <a:gd name="connsiteX2" fmla="*/ 8632154 w 8632154"/>
              <a:gd name="connsiteY2" fmla="*/ 6858000 h 6858000"/>
              <a:gd name="connsiteX3" fmla="*/ 0 w 8632154"/>
              <a:gd name="connsiteY3" fmla="*/ 6858000 h 6858000"/>
              <a:gd name="connsiteX4" fmla="*/ 17136 w 8632154"/>
              <a:gd name="connsiteY4" fmla="*/ 6850412 h 6858000"/>
              <a:gd name="connsiteX5" fmla="*/ 1326096 w 8632154"/>
              <a:gd name="connsiteY5" fmla="*/ 5732390 h 6858000"/>
              <a:gd name="connsiteX6" fmla="*/ 2315345 w 8632154"/>
              <a:gd name="connsiteY6" fmla="*/ 3259269 h 6858000"/>
              <a:gd name="connsiteX7" fmla="*/ 4672086 w 8632154"/>
              <a:gd name="connsiteY7" fmla="*/ 2008159 h 6858000"/>
              <a:gd name="connsiteX8" fmla="*/ 5848499 w 8632154"/>
              <a:gd name="connsiteY8" fmla="*/ 9045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32154" h="6858000">
                <a:moveTo>
                  <a:pt x="6050384" y="0"/>
                </a:moveTo>
                <a:lnTo>
                  <a:pt x="8632154" y="0"/>
                </a:lnTo>
                <a:lnTo>
                  <a:pt x="8632154" y="6858000"/>
                </a:lnTo>
                <a:lnTo>
                  <a:pt x="0" y="6858000"/>
                </a:lnTo>
                <a:lnTo>
                  <a:pt x="17136" y="6850412"/>
                </a:lnTo>
                <a:cubicBezTo>
                  <a:pt x="500509" y="6620261"/>
                  <a:pt x="978767" y="6201556"/>
                  <a:pt x="1326096" y="5732390"/>
                </a:cubicBezTo>
                <a:cubicBezTo>
                  <a:pt x="1789202" y="5106837"/>
                  <a:pt x="1757679" y="3879973"/>
                  <a:pt x="2315345" y="3259269"/>
                </a:cubicBezTo>
                <a:cubicBezTo>
                  <a:pt x="2873010" y="2638564"/>
                  <a:pt x="4167763" y="2560976"/>
                  <a:pt x="4672086" y="2008159"/>
                </a:cubicBezTo>
                <a:cubicBezTo>
                  <a:pt x="5085790" y="1554678"/>
                  <a:pt x="4955167" y="563510"/>
                  <a:pt x="5848499" y="90459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31" name="Google Shape;1023;p41">
            <a:extLst>
              <a:ext uri="{FF2B5EF4-FFF2-40B4-BE49-F238E27FC236}">
                <a16:creationId xmlns:a16="http://schemas.microsoft.com/office/drawing/2014/main" id="{E0F073F7-286B-4C75-85CF-12480F920666}"/>
              </a:ext>
            </a:extLst>
          </p:cNvPr>
          <p:cNvSpPr/>
          <p:nvPr/>
        </p:nvSpPr>
        <p:spPr>
          <a:xfrm>
            <a:off x="6887360" y="2139040"/>
            <a:ext cx="4420840" cy="10035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bg1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7" name="Google Shape;1023;p41">
            <a:extLst>
              <a:ext uri="{FF2B5EF4-FFF2-40B4-BE49-F238E27FC236}">
                <a16:creationId xmlns:a16="http://schemas.microsoft.com/office/drawing/2014/main" id="{BB0B996B-EE3A-4534-B22E-0895B0777787}"/>
              </a:ext>
            </a:extLst>
          </p:cNvPr>
          <p:cNvSpPr/>
          <p:nvPr/>
        </p:nvSpPr>
        <p:spPr>
          <a:xfrm>
            <a:off x="7184705" y="3261766"/>
            <a:ext cx="4420840" cy="10035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bg1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0" name="Google Shape;1023;p41">
            <a:extLst>
              <a:ext uri="{FF2B5EF4-FFF2-40B4-BE49-F238E27FC236}">
                <a16:creationId xmlns:a16="http://schemas.microsoft.com/office/drawing/2014/main" id="{E8E8CCCC-C8F1-4CFB-AF37-B54224E42BA7}"/>
              </a:ext>
            </a:extLst>
          </p:cNvPr>
          <p:cNvSpPr/>
          <p:nvPr/>
        </p:nvSpPr>
        <p:spPr>
          <a:xfrm>
            <a:off x="6748923" y="4452008"/>
            <a:ext cx="4420840" cy="10035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bg1">
                  <a:lumMod val="50000"/>
                </a:schemeClr>
              </a:solidFill>
              <a:cs typeface="+mn-ea"/>
              <a:sym typeface="+mn-lt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A2DCA1-6A7D-46A7-A89B-769FC3023D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A2DCA1-6A7D-46A7-A89B-769FC3023D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Box 31">
            <a:extLst>
              <a:ext uri="{FF2B5EF4-FFF2-40B4-BE49-F238E27FC236}">
                <a16:creationId xmlns:a16="http://schemas.microsoft.com/office/drawing/2014/main" id="{2D549802-FEF1-46C0-B711-B5DA0426126D}"/>
              </a:ext>
            </a:extLst>
          </p:cNvPr>
          <p:cNvSpPr txBox="1"/>
          <p:nvPr/>
        </p:nvSpPr>
        <p:spPr>
          <a:xfrm rot="10800000" flipH="1" flipV="1">
            <a:off x="-1" y="0"/>
            <a:ext cx="3841959" cy="2809875"/>
          </a:xfrm>
          <a:custGeom>
            <a:avLst/>
            <a:gdLst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54452"/>
              <a:gd name="connsiteX1" fmla="*/ 6674304 w 6674304"/>
              <a:gd name="connsiteY1" fmla="*/ 0 h 5954452"/>
              <a:gd name="connsiteX2" fmla="*/ 6672463 w 6674304"/>
              <a:gd name="connsiteY2" fmla="*/ 3528 h 5954452"/>
              <a:gd name="connsiteX3" fmla="*/ 6142663 w 6674304"/>
              <a:gd name="connsiteY3" fmla="*/ 1686835 h 5954452"/>
              <a:gd name="connsiteX4" fmla="*/ 4132917 w 6674304"/>
              <a:gd name="connsiteY4" fmla="*/ 2753737 h 5954452"/>
              <a:gd name="connsiteX5" fmla="*/ 3289320 w 6674304"/>
              <a:gd name="connsiteY5" fmla="*/ 4862728 h 5954452"/>
              <a:gd name="connsiteX6" fmla="*/ 1763402 w 6674304"/>
              <a:gd name="connsiteY6" fmla="*/ 5954443 h 5954452"/>
              <a:gd name="connsiteX7" fmla="*/ 63803 w 6674304"/>
              <a:gd name="connsiteY7" fmla="*/ 5470616 h 5954452"/>
              <a:gd name="connsiteX8" fmla="*/ 0 w 6674304"/>
              <a:gd name="connsiteY8" fmla="*/ 5467195 h 5954452"/>
              <a:gd name="connsiteX9" fmla="*/ 0 w 6674304"/>
              <a:gd name="connsiteY9" fmla="*/ 0 h 5954452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323857 w 6674304"/>
              <a:gd name="connsiteY5" fmla="*/ 488071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7613"/>
              <a:gd name="connsiteX1" fmla="*/ 6674304 w 6674304"/>
              <a:gd name="connsiteY1" fmla="*/ 0 h 5957613"/>
              <a:gd name="connsiteX2" fmla="*/ 6672463 w 6674304"/>
              <a:gd name="connsiteY2" fmla="*/ 3528 h 5957613"/>
              <a:gd name="connsiteX3" fmla="*/ 6142663 w 6674304"/>
              <a:gd name="connsiteY3" fmla="*/ 1686835 h 5957613"/>
              <a:gd name="connsiteX4" fmla="*/ 4132917 w 6674304"/>
              <a:gd name="connsiteY4" fmla="*/ 2753737 h 5957613"/>
              <a:gd name="connsiteX5" fmla="*/ 3323857 w 6674304"/>
              <a:gd name="connsiteY5" fmla="*/ 4880718 h 5957613"/>
              <a:gd name="connsiteX6" fmla="*/ 1763402 w 6674304"/>
              <a:gd name="connsiteY6" fmla="*/ 5954443 h 5957613"/>
              <a:gd name="connsiteX7" fmla="*/ 63803 w 6674304"/>
              <a:gd name="connsiteY7" fmla="*/ 5470616 h 5957613"/>
              <a:gd name="connsiteX8" fmla="*/ 0 w 6674304"/>
              <a:gd name="connsiteY8" fmla="*/ 5467195 h 5957613"/>
              <a:gd name="connsiteX9" fmla="*/ 0 w 6674304"/>
              <a:gd name="connsiteY9" fmla="*/ 0 h 5957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74304" h="5957613">
                <a:moveTo>
                  <a:pt x="0" y="0"/>
                </a:moveTo>
                <a:lnTo>
                  <a:pt x="6674304" y="0"/>
                </a:lnTo>
                <a:lnTo>
                  <a:pt x="6672463" y="3528"/>
                </a:lnTo>
                <a:cubicBezTo>
                  <a:pt x="6485641" y="423111"/>
                  <a:pt x="6718539" y="1011007"/>
                  <a:pt x="6142663" y="1686835"/>
                </a:cubicBezTo>
                <a:cubicBezTo>
                  <a:pt x="5728792" y="2172540"/>
                  <a:pt x="4602718" y="2221423"/>
                  <a:pt x="4132917" y="2753737"/>
                </a:cubicBezTo>
                <a:cubicBezTo>
                  <a:pt x="3663116" y="3286051"/>
                  <a:pt x="3658337" y="4266313"/>
                  <a:pt x="3323857" y="4880718"/>
                </a:cubicBezTo>
                <a:cubicBezTo>
                  <a:pt x="2989377" y="5495123"/>
                  <a:pt x="2577285" y="5862125"/>
                  <a:pt x="1763402" y="5954443"/>
                </a:cubicBezTo>
                <a:cubicBezTo>
                  <a:pt x="1230133" y="6001788"/>
                  <a:pt x="551766" y="5503698"/>
                  <a:pt x="63803" y="5470616"/>
                </a:cubicBezTo>
                <a:lnTo>
                  <a:pt x="0" y="5467195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0" marR="0" lvl="1" indent="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latin typeface="+mn-lt"/>
              <a:cs typeface="+mn-ea"/>
              <a:sym typeface="+mn-lt"/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B6C39B2C-3151-4B4D-AB3F-31A8F80555AA}"/>
              </a:ext>
            </a:extLst>
          </p:cNvPr>
          <p:cNvGrpSpPr/>
          <p:nvPr/>
        </p:nvGrpSpPr>
        <p:grpSpPr>
          <a:xfrm>
            <a:off x="3986758" y="904001"/>
            <a:ext cx="2582174" cy="500937"/>
            <a:chOff x="423052" y="305730"/>
            <a:chExt cx="2582174" cy="500937"/>
          </a:xfrm>
          <a:gradFill>
            <a:gsLst>
              <a:gs pos="0">
                <a:srgbClr val="1669E0"/>
              </a:gs>
              <a:gs pos="100000">
                <a:srgbClr val="37A6FF"/>
              </a:gs>
            </a:gsLst>
            <a:lin ang="5400012" scaled="0"/>
          </a:gradFill>
        </p:grpSpPr>
        <p:sp>
          <p:nvSpPr>
            <p:cNvPr id="14" name="Rectangle: Rounded Corners 34">
              <a:extLst>
                <a:ext uri="{FF2B5EF4-FFF2-40B4-BE49-F238E27FC236}">
                  <a16:creationId xmlns:a16="http://schemas.microsoft.com/office/drawing/2014/main" id="{0C3641D8-250A-44D5-8398-74F88E8883C4}"/>
                </a:ext>
              </a:extLst>
            </p:cNvPr>
            <p:cNvSpPr/>
            <p:nvPr/>
          </p:nvSpPr>
          <p:spPr>
            <a:xfrm>
              <a:off x="815816" y="305730"/>
              <a:ext cx="1830269" cy="50093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r>
                <a:rPr lang="en-US">
                  <a:solidFill>
                    <a:prstClr val="white"/>
                  </a:solidFill>
                  <a:cs typeface="+mn-ea"/>
                  <a:sym typeface="+mn-lt"/>
                </a:rPr>
                <a:t> </a:t>
              </a:r>
              <a:endParaRPr lang="en-US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15" name="iṩļïḓè">
              <a:extLst>
                <a:ext uri="{FF2B5EF4-FFF2-40B4-BE49-F238E27FC236}">
                  <a16:creationId xmlns:a16="http://schemas.microsoft.com/office/drawing/2014/main" id="{77C5B567-7CCA-4804-BD73-31ED6A296798}"/>
                </a:ext>
              </a:extLst>
            </p:cNvPr>
            <p:cNvSpPr txBox="1"/>
            <p:nvPr/>
          </p:nvSpPr>
          <p:spPr bwMode="auto">
            <a:xfrm>
              <a:off x="943549" y="407694"/>
              <a:ext cx="1534794" cy="33865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solidFill>
                    <a:prstClr val="white"/>
                  </a:solidFill>
                  <a:latin typeface="Calibri" panose="020F05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dist" defTabSz="914400"/>
              <a:r>
                <a:rPr lang="en-US" altLang="zh-CN" sz="1400" dirty="0">
                  <a:solidFill>
                    <a:srgbClr val="0F65B4"/>
                  </a:solidFill>
                  <a:cs typeface="+mn-ea"/>
                  <a:sym typeface="+mn-lt"/>
                </a:rPr>
                <a:t>Jpppt.com</a:t>
              </a:r>
            </a:p>
          </p:txBody>
        </p:sp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1917A3F5-D655-4512-A643-ECF69BFB833D}"/>
                </a:ext>
              </a:extLst>
            </p:cNvPr>
            <p:cNvSpPr/>
            <p:nvPr/>
          </p:nvSpPr>
          <p:spPr>
            <a:xfrm>
              <a:off x="423052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8085E3B0-AA65-423F-8B14-9CF479C23D0A}"/>
                </a:ext>
              </a:extLst>
            </p:cNvPr>
            <p:cNvSpPr/>
            <p:nvPr/>
          </p:nvSpPr>
          <p:spPr>
            <a:xfrm>
              <a:off x="2800384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  <p:pic>
        <p:nvPicPr>
          <p:cNvPr id="5" name="图片 4">
            <a:extLst>
              <a:ext uri="{FF2B5EF4-FFF2-40B4-BE49-F238E27FC236}">
                <a16:creationId xmlns:a16="http://schemas.microsoft.com/office/drawing/2014/main" id="{70B61B33-E75E-4C30-ADAE-D5530E873DA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41" y="1344618"/>
            <a:ext cx="5549387" cy="5086938"/>
          </a:xfrm>
          <a:prstGeom prst="rect">
            <a:avLst/>
          </a:prstGeom>
        </p:spPr>
      </p:pic>
      <p:sp>
        <p:nvSpPr>
          <p:cNvPr id="20" name="í$ḷiḑê">
            <a:extLst>
              <a:ext uri="{FF2B5EF4-FFF2-40B4-BE49-F238E27FC236}">
                <a16:creationId xmlns:a16="http://schemas.microsoft.com/office/drawing/2014/main" id="{5A79A95B-D42F-4167-85C5-5AC6B4D8BBD0}"/>
              </a:ext>
            </a:extLst>
          </p:cNvPr>
          <p:cNvSpPr/>
          <p:nvPr/>
        </p:nvSpPr>
        <p:spPr>
          <a:xfrm>
            <a:off x="1784949" y="1432346"/>
            <a:ext cx="4813301" cy="4813301"/>
          </a:xfrm>
          <a:prstGeom prst="arc">
            <a:avLst>
              <a:gd name="adj1" fmla="val 18522727"/>
              <a:gd name="adj2" fmla="val 2881511"/>
            </a:avLst>
          </a:prstGeom>
          <a:ln w="19050" cap="rnd">
            <a:solidFill>
              <a:schemeClr val="bg1">
                <a:lumMod val="9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1" name="í$ḷíḓê">
            <a:extLst>
              <a:ext uri="{FF2B5EF4-FFF2-40B4-BE49-F238E27FC236}">
                <a16:creationId xmlns:a16="http://schemas.microsoft.com/office/drawing/2014/main" id="{81748C84-04D3-4ACF-89D2-00F2CD1AE990}"/>
              </a:ext>
            </a:extLst>
          </p:cNvPr>
          <p:cNvSpPr/>
          <p:nvPr/>
        </p:nvSpPr>
        <p:spPr>
          <a:xfrm>
            <a:off x="6365384" y="3551394"/>
            <a:ext cx="444222" cy="4442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22" name="ïŝlîḑè">
            <a:extLst>
              <a:ext uri="{FF2B5EF4-FFF2-40B4-BE49-F238E27FC236}">
                <a16:creationId xmlns:a16="http://schemas.microsoft.com/office/drawing/2014/main" id="{D125C512-544D-4FCA-892B-75B05C6B496A}"/>
              </a:ext>
            </a:extLst>
          </p:cNvPr>
          <p:cNvSpPr/>
          <p:nvPr/>
        </p:nvSpPr>
        <p:spPr bwMode="auto">
          <a:xfrm>
            <a:off x="6484715" y="3687938"/>
            <a:ext cx="205561" cy="171132"/>
          </a:xfrm>
          <a:custGeom>
            <a:avLst/>
            <a:gdLst>
              <a:gd name="connsiteX0" fmla="*/ 483573 w 526297"/>
              <a:gd name="connsiteY0" fmla="*/ 133971 h 438150"/>
              <a:gd name="connsiteX1" fmla="*/ 527674 w 526297"/>
              <a:gd name="connsiteY1" fmla="*/ 178072 h 438150"/>
              <a:gd name="connsiteX2" fmla="*/ 527579 w 526297"/>
              <a:gd name="connsiteY2" fmla="*/ 181501 h 438150"/>
              <a:gd name="connsiteX3" fmla="*/ 514244 w 526297"/>
              <a:gd name="connsiteY3" fmla="*/ 355237 h 438150"/>
              <a:gd name="connsiteX4" fmla="*/ 485764 w 526297"/>
              <a:gd name="connsiteY4" fmla="*/ 381621 h 438150"/>
              <a:gd name="connsiteX5" fmla="*/ 454998 w 526297"/>
              <a:gd name="connsiteY5" fmla="*/ 381621 h 438150"/>
              <a:gd name="connsiteX6" fmla="*/ 454998 w 526297"/>
              <a:gd name="connsiteY6" fmla="*/ 438771 h 438150"/>
              <a:gd name="connsiteX7" fmla="*/ 435948 w 526297"/>
              <a:gd name="connsiteY7" fmla="*/ 438771 h 438150"/>
              <a:gd name="connsiteX8" fmla="*/ 435948 w 526297"/>
              <a:gd name="connsiteY8" fmla="*/ 381621 h 438150"/>
              <a:gd name="connsiteX9" fmla="*/ 93048 w 526297"/>
              <a:gd name="connsiteY9" fmla="*/ 381621 h 438150"/>
              <a:gd name="connsiteX10" fmla="*/ 93048 w 526297"/>
              <a:gd name="connsiteY10" fmla="*/ 438771 h 438150"/>
              <a:gd name="connsiteX11" fmla="*/ 73998 w 526297"/>
              <a:gd name="connsiteY11" fmla="*/ 438771 h 438150"/>
              <a:gd name="connsiteX12" fmla="*/ 73998 w 526297"/>
              <a:gd name="connsiteY12" fmla="*/ 381621 h 438150"/>
              <a:gd name="connsiteX13" fmla="*/ 43328 w 526297"/>
              <a:gd name="connsiteY13" fmla="*/ 381621 h 438150"/>
              <a:gd name="connsiteX14" fmla="*/ 14848 w 526297"/>
              <a:gd name="connsiteY14" fmla="*/ 355237 h 438150"/>
              <a:gd name="connsiteX15" fmla="*/ 1513 w 526297"/>
              <a:gd name="connsiteY15" fmla="*/ 181501 h 438150"/>
              <a:gd name="connsiteX16" fmla="*/ 42089 w 526297"/>
              <a:gd name="connsiteY16" fmla="*/ 134162 h 438150"/>
              <a:gd name="connsiteX17" fmla="*/ 45518 w 526297"/>
              <a:gd name="connsiteY17" fmla="*/ 134066 h 438150"/>
              <a:gd name="connsiteX18" fmla="*/ 101906 w 526297"/>
              <a:gd name="connsiteY18" fmla="*/ 180834 h 438150"/>
              <a:gd name="connsiteX19" fmla="*/ 121623 w 526297"/>
              <a:gd name="connsiteY19" fmla="*/ 286371 h 438150"/>
              <a:gd name="connsiteX20" fmla="*/ 407373 w 526297"/>
              <a:gd name="connsiteY20" fmla="*/ 286371 h 438150"/>
              <a:gd name="connsiteX21" fmla="*/ 427185 w 526297"/>
              <a:gd name="connsiteY21" fmla="*/ 180739 h 438150"/>
              <a:gd name="connsiteX22" fmla="*/ 483573 w 526297"/>
              <a:gd name="connsiteY22" fmla="*/ 133971 h 438150"/>
              <a:gd name="connsiteX23" fmla="*/ 416898 w 526297"/>
              <a:gd name="connsiteY23" fmla="*/ 621 h 438150"/>
              <a:gd name="connsiteX24" fmla="*/ 483573 w 526297"/>
              <a:gd name="connsiteY24" fmla="*/ 67296 h 438150"/>
              <a:gd name="connsiteX25" fmla="*/ 483573 w 526297"/>
              <a:gd name="connsiteY25" fmla="*/ 115397 h 438150"/>
              <a:gd name="connsiteX26" fmla="*/ 476429 w 526297"/>
              <a:gd name="connsiteY26" fmla="*/ 114921 h 438150"/>
              <a:gd name="connsiteX27" fmla="*/ 412040 w 526297"/>
              <a:gd name="connsiteY27" fmla="*/ 166451 h 438150"/>
              <a:gd name="connsiteX28" fmla="*/ 411564 w 526297"/>
              <a:gd name="connsiteY28" fmla="*/ 168737 h 438150"/>
              <a:gd name="connsiteX29" fmla="*/ 393086 w 526297"/>
              <a:gd name="connsiteY29" fmla="*/ 267321 h 438150"/>
              <a:gd name="connsiteX30" fmla="*/ 135911 w 526297"/>
              <a:gd name="connsiteY30" fmla="*/ 267321 h 438150"/>
              <a:gd name="connsiteX31" fmla="*/ 117432 w 526297"/>
              <a:gd name="connsiteY31" fmla="*/ 168737 h 438150"/>
              <a:gd name="connsiteX32" fmla="*/ 52567 w 526297"/>
              <a:gd name="connsiteY32" fmla="*/ 114921 h 438150"/>
              <a:gd name="connsiteX33" fmla="*/ 54948 w 526297"/>
              <a:gd name="connsiteY33" fmla="*/ 67296 h 438150"/>
              <a:gd name="connsiteX34" fmla="*/ 121623 w 526297"/>
              <a:gd name="connsiteY34" fmla="*/ 621 h 438150"/>
              <a:gd name="connsiteX35" fmla="*/ 416898 w 526297"/>
              <a:gd name="connsiteY35" fmla="*/ 621 h 43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26297" h="438150">
                <a:moveTo>
                  <a:pt x="483573" y="133971"/>
                </a:moveTo>
                <a:cubicBezTo>
                  <a:pt x="507957" y="133971"/>
                  <a:pt x="527674" y="153688"/>
                  <a:pt x="527674" y="178072"/>
                </a:cubicBezTo>
                <a:cubicBezTo>
                  <a:pt x="527674" y="179215"/>
                  <a:pt x="527674" y="180358"/>
                  <a:pt x="527579" y="181501"/>
                </a:cubicBezTo>
                <a:lnTo>
                  <a:pt x="514244" y="355237"/>
                </a:lnTo>
                <a:cubicBezTo>
                  <a:pt x="513101" y="370096"/>
                  <a:pt x="500718" y="381621"/>
                  <a:pt x="485764" y="381621"/>
                </a:cubicBezTo>
                <a:lnTo>
                  <a:pt x="454998" y="381621"/>
                </a:lnTo>
                <a:lnTo>
                  <a:pt x="454998" y="438771"/>
                </a:lnTo>
                <a:lnTo>
                  <a:pt x="435948" y="438771"/>
                </a:lnTo>
                <a:lnTo>
                  <a:pt x="435948" y="381621"/>
                </a:lnTo>
                <a:lnTo>
                  <a:pt x="93048" y="381621"/>
                </a:lnTo>
                <a:lnTo>
                  <a:pt x="93048" y="438771"/>
                </a:lnTo>
                <a:lnTo>
                  <a:pt x="73998" y="438771"/>
                </a:lnTo>
                <a:lnTo>
                  <a:pt x="73998" y="381621"/>
                </a:lnTo>
                <a:lnTo>
                  <a:pt x="43328" y="381621"/>
                </a:lnTo>
                <a:cubicBezTo>
                  <a:pt x="28373" y="381621"/>
                  <a:pt x="15991" y="370096"/>
                  <a:pt x="14848" y="355237"/>
                </a:cubicBezTo>
                <a:lnTo>
                  <a:pt x="1513" y="181501"/>
                </a:lnTo>
                <a:cubicBezTo>
                  <a:pt x="-392" y="157212"/>
                  <a:pt x="17801" y="135971"/>
                  <a:pt x="42089" y="134162"/>
                </a:cubicBezTo>
                <a:cubicBezTo>
                  <a:pt x="43232" y="134066"/>
                  <a:pt x="44375" y="134066"/>
                  <a:pt x="45518" y="134066"/>
                </a:cubicBezTo>
                <a:cubicBezTo>
                  <a:pt x="73141" y="134066"/>
                  <a:pt x="96858" y="153688"/>
                  <a:pt x="101906" y="180834"/>
                </a:cubicBezTo>
                <a:lnTo>
                  <a:pt x="121623" y="286371"/>
                </a:lnTo>
                <a:lnTo>
                  <a:pt x="407373" y="286371"/>
                </a:lnTo>
                <a:lnTo>
                  <a:pt x="427185" y="180739"/>
                </a:lnTo>
                <a:cubicBezTo>
                  <a:pt x="432233" y="153592"/>
                  <a:pt x="455951" y="133971"/>
                  <a:pt x="483573" y="133971"/>
                </a:cubicBezTo>
                <a:close/>
                <a:moveTo>
                  <a:pt x="416898" y="621"/>
                </a:moveTo>
                <a:cubicBezTo>
                  <a:pt x="453760" y="621"/>
                  <a:pt x="483573" y="30434"/>
                  <a:pt x="483573" y="67296"/>
                </a:cubicBezTo>
                <a:lnTo>
                  <a:pt x="483573" y="115397"/>
                </a:lnTo>
                <a:cubicBezTo>
                  <a:pt x="481192" y="115112"/>
                  <a:pt x="478811" y="114921"/>
                  <a:pt x="476429" y="114921"/>
                </a:cubicBezTo>
                <a:cubicBezTo>
                  <a:pt x="445473" y="114921"/>
                  <a:pt x="418803" y="136448"/>
                  <a:pt x="412040" y="166451"/>
                </a:cubicBezTo>
                <a:lnTo>
                  <a:pt x="411564" y="168737"/>
                </a:lnTo>
                <a:lnTo>
                  <a:pt x="393086" y="267321"/>
                </a:lnTo>
                <a:lnTo>
                  <a:pt x="135911" y="267321"/>
                </a:lnTo>
                <a:lnTo>
                  <a:pt x="117432" y="168737"/>
                </a:lnTo>
                <a:cubicBezTo>
                  <a:pt x="111622" y="137495"/>
                  <a:pt x="84285" y="114921"/>
                  <a:pt x="52567" y="114921"/>
                </a:cubicBezTo>
                <a:lnTo>
                  <a:pt x="54948" y="67296"/>
                </a:lnTo>
                <a:cubicBezTo>
                  <a:pt x="54948" y="30434"/>
                  <a:pt x="84761" y="621"/>
                  <a:pt x="121623" y="621"/>
                </a:cubicBezTo>
                <a:lnTo>
                  <a:pt x="416898" y="6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3" name="iŝļîḓè">
            <a:extLst>
              <a:ext uri="{FF2B5EF4-FFF2-40B4-BE49-F238E27FC236}">
                <a16:creationId xmlns:a16="http://schemas.microsoft.com/office/drawing/2014/main" id="{3C057905-521E-42F3-BD3A-752044B96B5E}"/>
              </a:ext>
            </a:extLst>
          </p:cNvPr>
          <p:cNvSpPr/>
          <p:nvPr/>
        </p:nvSpPr>
        <p:spPr>
          <a:xfrm>
            <a:off x="6124084" y="2418709"/>
            <a:ext cx="444222" cy="4442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24" name="îślîḍé">
            <a:extLst>
              <a:ext uri="{FF2B5EF4-FFF2-40B4-BE49-F238E27FC236}">
                <a16:creationId xmlns:a16="http://schemas.microsoft.com/office/drawing/2014/main" id="{95B460A2-DB56-4F72-94AC-BAC69096392C}"/>
              </a:ext>
            </a:extLst>
          </p:cNvPr>
          <p:cNvSpPr/>
          <p:nvPr/>
        </p:nvSpPr>
        <p:spPr bwMode="auto">
          <a:xfrm>
            <a:off x="6243414" y="2547216"/>
            <a:ext cx="205561" cy="187207"/>
          </a:xfrm>
          <a:custGeom>
            <a:avLst/>
            <a:gdLst>
              <a:gd name="connsiteX0" fmla="*/ 125329 w 533400"/>
              <a:gd name="connsiteY0" fmla="*/ 229221 h 485775"/>
              <a:gd name="connsiteX1" fmla="*/ 125329 w 533400"/>
              <a:gd name="connsiteY1" fmla="*/ 276846 h 485775"/>
              <a:gd name="connsiteX2" fmla="*/ 144379 w 533400"/>
              <a:gd name="connsiteY2" fmla="*/ 276846 h 485775"/>
              <a:gd name="connsiteX3" fmla="*/ 144379 w 533400"/>
              <a:gd name="connsiteY3" fmla="*/ 229221 h 485775"/>
              <a:gd name="connsiteX4" fmla="*/ 392029 w 533400"/>
              <a:gd name="connsiteY4" fmla="*/ 229221 h 485775"/>
              <a:gd name="connsiteX5" fmla="*/ 392029 w 533400"/>
              <a:gd name="connsiteY5" fmla="*/ 276846 h 485775"/>
              <a:gd name="connsiteX6" fmla="*/ 411079 w 533400"/>
              <a:gd name="connsiteY6" fmla="*/ 276846 h 485775"/>
              <a:gd name="connsiteX7" fmla="*/ 411079 w 533400"/>
              <a:gd name="connsiteY7" fmla="*/ 229221 h 485775"/>
              <a:gd name="connsiteX8" fmla="*/ 534904 w 533400"/>
              <a:gd name="connsiteY8" fmla="*/ 229221 h 485775"/>
              <a:gd name="connsiteX9" fmla="*/ 534904 w 533400"/>
              <a:gd name="connsiteY9" fmla="*/ 457821 h 485775"/>
              <a:gd name="connsiteX10" fmla="*/ 506329 w 533400"/>
              <a:gd name="connsiteY10" fmla="*/ 486396 h 485775"/>
              <a:gd name="connsiteX11" fmla="*/ 30079 w 533400"/>
              <a:gd name="connsiteY11" fmla="*/ 486396 h 485775"/>
              <a:gd name="connsiteX12" fmla="*/ 1504 w 533400"/>
              <a:gd name="connsiteY12" fmla="*/ 457821 h 485775"/>
              <a:gd name="connsiteX13" fmla="*/ 1504 w 533400"/>
              <a:gd name="connsiteY13" fmla="*/ 229221 h 485775"/>
              <a:gd name="connsiteX14" fmla="*/ 125329 w 533400"/>
              <a:gd name="connsiteY14" fmla="*/ 229221 h 485775"/>
              <a:gd name="connsiteX15" fmla="*/ 372979 w 533400"/>
              <a:gd name="connsiteY15" fmla="*/ 621 h 485775"/>
              <a:gd name="connsiteX16" fmla="*/ 411079 w 533400"/>
              <a:gd name="connsiteY16" fmla="*/ 36816 h 485775"/>
              <a:gd name="connsiteX17" fmla="*/ 411079 w 533400"/>
              <a:gd name="connsiteY17" fmla="*/ 38721 h 485775"/>
              <a:gd name="connsiteX18" fmla="*/ 411079 w 533400"/>
              <a:gd name="connsiteY18" fmla="*/ 114921 h 485775"/>
              <a:gd name="connsiteX19" fmla="*/ 506329 w 533400"/>
              <a:gd name="connsiteY19" fmla="*/ 114921 h 485775"/>
              <a:gd name="connsiteX20" fmla="*/ 534904 w 533400"/>
              <a:gd name="connsiteY20" fmla="*/ 143496 h 485775"/>
              <a:gd name="connsiteX21" fmla="*/ 534904 w 533400"/>
              <a:gd name="connsiteY21" fmla="*/ 210171 h 485775"/>
              <a:gd name="connsiteX22" fmla="*/ 1504 w 533400"/>
              <a:gd name="connsiteY22" fmla="*/ 210171 h 485775"/>
              <a:gd name="connsiteX23" fmla="*/ 1504 w 533400"/>
              <a:gd name="connsiteY23" fmla="*/ 143496 h 485775"/>
              <a:gd name="connsiteX24" fmla="*/ 30079 w 533400"/>
              <a:gd name="connsiteY24" fmla="*/ 114921 h 485775"/>
              <a:gd name="connsiteX25" fmla="*/ 125329 w 533400"/>
              <a:gd name="connsiteY25" fmla="*/ 114921 h 485775"/>
              <a:gd name="connsiteX26" fmla="*/ 125329 w 533400"/>
              <a:gd name="connsiteY26" fmla="*/ 38721 h 485775"/>
              <a:gd name="connsiteX27" fmla="*/ 161524 w 533400"/>
              <a:gd name="connsiteY27" fmla="*/ 621 h 485775"/>
              <a:gd name="connsiteX28" fmla="*/ 163429 w 533400"/>
              <a:gd name="connsiteY28" fmla="*/ 621 h 485775"/>
              <a:gd name="connsiteX29" fmla="*/ 372979 w 533400"/>
              <a:gd name="connsiteY29" fmla="*/ 621 h 485775"/>
              <a:gd name="connsiteX30" fmla="*/ 372979 w 533400"/>
              <a:gd name="connsiteY30" fmla="*/ 19671 h 485775"/>
              <a:gd name="connsiteX31" fmla="*/ 163429 w 533400"/>
              <a:gd name="connsiteY31" fmla="*/ 19671 h 485775"/>
              <a:gd name="connsiteX32" fmla="*/ 144474 w 533400"/>
              <a:gd name="connsiteY32" fmla="*/ 37292 h 485775"/>
              <a:gd name="connsiteX33" fmla="*/ 144379 w 533400"/>
              <a:gd name="connsiteY33" fmla="*/ 38721 h 485775"/>
              <a:gd name="connsiteX34" fmla="*/ 144379 w 533400"/>
              <a:gd name="connsiteY34" fmla="*/ 114921 h 485775"/>
              <a:gd name="connsiteX35" fmla="*/ 392029 w 533400"/>
              <a:gd name="connsiteY35" fmla="*/ 114921 h 485775"/>
              <a:gd name="connsiteX36" fmla="*/ 392029 w 533400"/>
              <a:gd name="connsiteY36" fmla="*/ 38721 h 485775"/>
              <a:gd name="connsiteX37" fmla="*/ 375836 w 533400"/>
              <a:gd name="connsiteY37" fmla="*/ 19862 h 485775"/>
              <a:gd name="connsiteX38" fmla="*/ 374408 w 533400"/>
              <a:gd name="connsiteY38" fmla="*/ 19671 h 485775"/>
              <a:gd name="connsiteX39" fmla="*/ 372979 w 533400"/>
              <a:gd name="connsiteY39" fmla="*/ 19671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533400" h="485775">
                <a:moveTo>
                  <a:pt x="125329" y="229221"/>
                </a:moveTo>
                <a:lnTo>
                  <a:pt x="125329" y="276846"/>
                </a:lnTo>
                <a:lnTo>
                  <a:pt x="144379" y="276846"/>
                </a:lnTo>
                <a:lnTo>
                  <a:pt x="144379" y="229221"/>
                </a:lnTo>
                <a:lnTo>
                  <a:pt x="392029" y="229221"/>
                </a:lnTo>
                <a:lnTo>
                  <a:pt x="392029" y="276846"/>
                </a:lnTo>
                <a:lnTo>
                  <a:pt x="411079" y="276846"/>
                </a:lnTo>
                <a:lnTo>
                  <a:pt x="411079" y="229221"/>
                </a:lnTo>
                <a:lnTo>
                  <a:pt x="534904" y="229221"/>
                </a:lnTo>
                <a:lnTo>
                  <a:pt x="534904" y="457821"/>
                </a:lnTo>
                <a:cubicBezTo>
                  <a:pt x="534904" y="473632"/>
                  <a:pt x="522141" y="486396"/>
                  <a:pt x="506329" y="486396"/>
                </a:cubicBezTo>
                <a:lnTo>
                  <a:pt x="30079" y="486396"/>
                </a:lnTo>
                <a:cubicBezTo>
                  <a:pt x="14267" y="486396"/>
                  <a:pt x="1504" y="473632"/>
                  <a:pt x="1504" y="457821"/>
                </a:cubicBezTo>
                <a:lnTo>
                  <a:pt x="1504" y="229221"/>
                </a:lnTo>
                <a:lnTo>
                  <a:pt x="125329" y="229221"/>
                </a:lnTo>
                <a:close/>
                <a:moveTo>
                  <a:pt x="372979" y="621"/>
                </a:moveTo>
                <a:cubicBezTo>
                  <a:pt x="393363" y="621"/>
                  <a:pt x="410031" y="16623"/>
                  <a:pt x="411079" y="36816"/>
                </a:cubicBezTo>
                <a:lnTo>
                  <a:pt x="411079" y="38721"/>
                </a:lnTo>
                <a:lnTo>
                  <a:pt x="411079" y="114921"/>
                </a:lnTo>
                <a:lnTo>
                  <a:pt x="506329" y="114921"/>
                </a:lnTo>
                <a:cubicBezTo>
                  <a:pt x="522141" y="114921"/>
                  <a:pt x="534904" y="127685"/>
                  <a:pt x="534904" y="143496"/>
                </a:cubicBezTo>
                <a:lnTo>
                  <a:pt x="534904" y="210171"/>
                </a:lnTo>
                <a:lnTo>
                  <a:pt x="1504" y="210171"/>
                </a:lnTo>
                <a:lnTo>
                  <a:pt x="1504" y="143496"/>
                </a:lnTo>
                <a:cubicBezTo>
                  <a:pt x="1504" y="127685"/>
                  <a:pt x="14267" y="114921"/>
                  <a:pt x="30079" y="114921"/>
                </a:cubicBezTo>
                <a:lnTo>
                  <a:pt x="125329" y="114921"/>
                </a:lnTo>
                <a:lnTo>
                  <a:pt x="125329" y="38721"/>
                </a:lnTo>
                <a:cubicBezTo>
                  <a:pt x="125329" y="18337"/>
                  <a:pt x="141331" y="1669"/>
                  <a:pt x="161524" y="621"/>
                </a:cubicBezTo>
                <a:lnTo>
                  <a:pt x="163429" y="621"/>
                </a:lnTo>
                <a:lnTo>
                  <a:pt x="372979" y="621"/>
                </a:lnTo>
                <a:close/>
                <a:moveTo>
                  <a:pt x="372979" y="19671"/>
                </a:moveTo>
                <a:lnTo>
                  <a:pt x="163429" y="19671"/>
                </a:lnTo>
                <a:cubicBezTo>
                  <a:pt x="153428" y="19671"/>
                  <a:pt x="145141" y="27482"/>
                  <a:pt x="144474" y="37292"/>
                </a:cubicBezTo>
                <a:lnTo>
                  <a:pt x="144379" y="38721"/>
                </a:lnTo>
                <a:lnTo>
                  <a:pt x="144379" y="114921"/>
                </a:lnTo>
                <a:lnTo>
                  <a:pt x="392029" y="114921"/>
                </a:lnTo>
                <a:lnTo>
                  <a:pt x="392029" y="38721"/>
                </a:lnTo>
                <a:cubicBezTo>
                  <a:pt x="392029" y="29196"/>
                  <a:pt x="384981" y="21290"/>
                  <a:pt x="375836" y="19862"/>
                </a:cubicBezTo>
                <a:lnTo>
                  <a:pt x="374408" y="19671"/>
                </a:lnTo>
                <a:lnTo>
                  <a:pt x="372979" y="1967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5" name="ïšḷíḓé">
            <a:extLst>
              <a:ext uri="{FF2B5EF4-FFF2-40B4-BE49-F238E27FC236}">
                <a16:creationId xmlns:a16="http://schemas.microsoft.com/office/drawing/2014/main" id="{4C0A6C69-668B-4B7E-ABD6-29AB417341A8}"/>
              </a:ext>
            </a:extLst>
          </p:cNvPr>
          <p:cNvSpPr/>
          <p:nvPr/>
        </p:nvSpPr>
        <p:spPr>
          <a:xfrm>
            <a:off x="6124084" y="4757752"/>
            <a:ext cx="444222" cy="44422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26" name="ís1ïḑe">
            <a:extLst>
              <a:ext uri="{FF2B5EF4-FFF2-40B4-BE49-F238E27FC236}">
                <a16:creationId xmlns:a16="http://schemas.microsoft.com/office/drawing/2014/main" id="{FE2AC7DC-4CD2-4D60-94F4-863587C845A2}"/>
              </a:ext>
            </a:extLst>
          </p:cNvPr>
          <p:cNvSpPr/>
          <p:nvPr/>
        </p:nvSpPr>
        <p:spPr bwMode="auto">
          <a:xfrm>
            <a:off x="6261768" y="4877082"/>
            <a:ext cx="168853" cy="205561"/>
          </a:xfrm>
          <a:custGeom>
            <a:avLst/>
            <a:gdLst>
              <a:gd name="connsiteX0" fmla="*/ 283816 w 438150"/>
              <a:gd name="connsiteY0" fmla="*/ 621 h 533400"/>
              <a:gd name="connsiteX1" fmla="*/ 286102 w 438150"/>
              <a:gd name="connsiteY1" fmla="*/ 716 h 533400"/>
              <a:gd name="connsiteX2" fmla="*/ 286102 w 438150"/>
              <a:gd name="connsiteY2" fmla="*/ 124446 h 533400"/>
              <a:gd name="connsiteX3" fmla="*/ 286197 w 438150"/>
              <a:gd name="connsiteY3" fmla="*/ 126160 h 533400"/>
              <a:gd name="connsiteX4" fmla="*/ 314677 w 438150"/>
              <a:gd name="connsiteY4" fmla="*/ 153021 h 533400"/>
              <a:gd name="connsiteX5" fmla="*/ 314677 w 438150"/>
              <a:gd name="connsiteY5" fmla="*/ 153021 h 533400"/>
              <a:gd name="connsiteX6" fmla="*/ 438407 w 438150"/>
              <a:gd name="connsiteY6" fmla="*/ 153021 h 533400"/>
              <a:gd name="connsiteX7" fmla="*/ 438502 w 438150"/>
              <a:gd name="connsiteY7" fmla="*/ 155307 h 533400"/>
              <a:gd name="connsiteX8" fmla="*/ 438502 w 438150"/>
              <a:gd name="connsiteY8" fmla="*/ 505446 h 533400"/>
              <a:gd name="connsiteX9" fmla="*/ 409927 w 438150"/>
              <a:gd name="connsiteY9" fmla="*/ 534021 h 533400"/>
              <a:gd name="connsiteX10" fmla="*/ 28927 w 438150"/>
              <a:gd name="connsiteY10" fmla="*/ 534021 h 533400"/>
              <a:gd name="connsiteX11" fmla="*/ 352 w 438150"/>
              <a:gd name="connsiteY11" fmla="*/ 505446 h 533400"/>
              <a:gd name="connsiteX12" fmla="*/ 352 w 438150"/>
              <a:gd name="connsiteY12" fmla="*/ 29196 h 533400"/>
              <a:gd name="connsiteX13" fmla="*/ 28927 w 438150"/>
              <a:gd name="connsiteY13" fmla="*/ 621 h 533400"/>
              <a:gd name="connsiteX14" fmla="*/ 283816 w 438150"/>
              <a:gd name="connsiteY14" fmla="*/ 621 h 533400"/>
              <a:gd name="connsiteX15" fmla="*/ 248002 w 438150"/>
              <a:gd name="connsiteY15" fmla="*/ 200646 h 533400"/>
              <a:gd name="connsiteX16" fmla="*/ 152752 w 438150"/>
              <a:gd name="connsiteY16" fmla="*/ 200646 h 533400"/>
              <a:gd name="connsiteX17" fmla="*/ 152752 w 438150"/>
              <a:gd name="connsiteY17" fmla="*/ 410196 h 533400"/>
              <a:gd name="connsiteX18" fmla="*/ 171802 w 438150"/>
              <a:gd name="connsiteY18" fmla="*/ 410196 h 533400"/>
              <a:gd name="connsiteX19" fmla="*/ 171802 w 438150"/>
              <a:gd name="connsiteY19" fmla="*/ 314946 h 533400"/>
              <a:gd name="connsiteX20" fmla="*/ 248002 w 438150"/>
              <a:gd name="connsiteY20" fmla="*/ 314946 h 533400"/>
              <a:gd name="connsiteX21" fmla="*/ 250098 w 438150"/>
              <a:gd name="connsiteY21" fmla="*/ 314946 h 533400"/>
              <a:gd name="connsiteX22" fmla="*/ 305152 w 438150"/>
              <a:gd name="connsiteY22" fmla="*/ 257796 h 533400"/>
              <a:gd name="connsiteX23" fmla="*/ 248002 w 438150"/>
              <a:gd name="connsiteY23" fmla="*/ 200646 h 533400"/>
              <a:gd name="connsiteX24" fmla="*/ 248002 w 438150"/>
              <a:gd name="connsiteY24" fmla="*/ 200646 h 533400"/>
              <a:gd name="connsiteX25" fmla="*/ 248002 w 438150"/>
              <a:gd name="connsiteY25" fmla="*/ 219696 h 533400"/>
              <a:gd name="connsiteX26" fmla="*/ 286102 w 438150"/>
              <a:gd name="connsiteY26" fmla="*/ 257796 h 533400"/>
              <a:gd name="connsiteX27" fmla="*/ 248002 w 438150"/>
              <a:gd name="connsiteY27" fmla="*/ 295896 h 533400"/>
              <a:gd name="connsiteX28" fmla="*/ 248002 w 438150"/>
              <a:gd name="connsiteY28" fmla="*/ 295896 h 533400"/>
              <a:gd name="connsiteX29" fmla="*/ 171802 w 438150"/>
              <a:gd name="connsiteY29" fmla="*/ 295896 h 533400"/>
              <a:gd name="connsiteX30" fmla="*/ 171802 w 438150"/>
              <a:gd name="connsiteY30" fmla="*/ 219696 h 533400"/>
              <a:gd name="connsiteX31" fmla="*/ 248002 w 438150"/>
              <a:gd name="connsiteY31" fmla="*/ 219696 h 533400"/>
              <a:gd name="connsiteX32" fmla="*/ 428977 w 438150"/>
              <a:gd name="connsiteY32" fmla="*/ 133971 h 533400"/>
              <a:gd name="connsiteX33" fmla="*/ 314677 w 438150"/>
              <a:gd name="connsiteY33" fmla="*/ 133971 h 533400"/>
              <a:gd name="connsiteX34" fmla="*/ 313534 w 438150"/>
              <a:gd name="connsiteY34" fmla="*/ 133876 h 533400"/>
              <a:gd name="connsiteX35" fmla="*/ 305152 w 438150"/>
              <a:gd name="connsiteY35" fmla="*/ 124446 h 533400"/>
              <a:gd name="connsiteX36" fmla="*/ 305152 w 438150"/>
              <a:gd name="connsiteY36" fmla="*/ 124446 h 533400"/>
              <a:gd name="connsiteX37" fmla="*/ 305152 w 438150"/>
              <a:gd name="connsiteY37" fmla="*/ 10146 h 533400"/>
              <a:gd name="connsiteX38" fmla="*/ 428977 w 438150"/>
              <a:gd name="connsiteY38" fmla="*/ 133971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438150" h="533400">
                <a:moveTo>
                  <a:pt x="283816" y="621"/>
                </a:moveTo>
                <a:cubicBezTo>
                  <a:pt x="284578" y="621"/>
                  <a:pt x="285340" y="621"/>
                  <a:pt x="286102" y="716"/>
                </a:cubicBezTo>
                <a:lnTo>
                  <a:pt x="286102" y="124446"/>
                </a:lnTo>
                <a:lnTo>
                  <a:pt x="286197" y="126160"/>
                </a:lnTo>
                <a:cubicBezTo>
                  <a:pt x="287055" y="141115"/>
                  <a:pt x="299532" y="153021"/>
                  <a:pt x="314677" y="153021"/>
                </a:cubicBezTo>
                <a:lnTo>
                  <a:pt x="314677" y="153021"/>
                </a:lnTo>
                <a:lnTo>
                  <a:pt x="438407" y="153021"/>
                </a:lnTo>
                <a:cubicBezTo>
                  <a:pt x="438502" y="153783"/>
                  <a:pt x="438502" y="154545"/>
                  <a:pt x="438502" y="155307"/>
                </a:cubicBezTo>
                <a:lnTo>
                  <a:pt x="438502" y="505446"/>
                </a:lnTo>
                <a:cubicBezTo>
                  <a:pt x="438502" y="521257"/>
                  <a:pt x="425739" y="534021"/>
                  <a:pt x="409927" y="534021"/>
                </a:cubicBezTo>
                <a:lnTo>
                  <a:pt x="28927" y="534021"/>
                </a:lnTo>
                <a:cubicBezTo>
                  <a:pt x="13115" y="534021"/>
                  <a:pt x="352" y="521257"/>
                  <a:pt x="352" y="505446"/>
                </a:cubicBezTo>
                <a:lnTo>
                  <a:pt x="352" y="29196"/>
                </a:lnTo>
                <a:cubicBezTo>
                  <a:pt x="352" y="13385"/>
                  <a:pt x="13115" y="621"/>
                  <a:pt x="28927" y="621"/>
                </a:cubicBezTo>
                <a:lnTo>
                  <a:pt x="283816" y="621"/>
                </a:lnTo>
                <a:close/>
                <a:moveTo>
                  <a:pt x="248002" y="200646"/>
                </a:moveTo>
                <a:lnTo>
                  <a:pt x="152752" y="200646"/>
                </a:lnTo>
                <a:lnTo>
                  <a:pt x="152752" y="410196"/>
                </a:lnTo>
                <a:lnTo>
                  <a:pt x="171802" y="410196"/>
                </a:lnTo>
                <a:lnTo>
                  <a:pt x="171802" y="314946"/>
                </a:lnTo>
                <a:lnTo>
                  <a:pt x="248002" y="314946"/>
                </a:lnTo>
                <a:lnTo>
                  <a:pt x="250098" y="314946"/>
                </a:lnTo>
                <a:cubicBezTo>
                  <a:pt x="280673" y="313803"/>
                  <a:pt x="305152" y="288657"/>
                  <a:pt x="305152" y="257796"/>
                </a:cubicBezTo>
                <a:cubicBezTo>
                  <a:pt x="305152" y="226268"/>
                  <a:pt x="279530" y="200646"/>
                  <a:pt x="248002" y="200646"/>
                </a:cubicBezTo>
                <a:lnTo>
                  <a:pt x="248002" y="200646"/>
                </a:lnTo>
                <a:close/>
                <a:moveTo>
                  <a:pt x="248002" y="219696"/>
                </a:moveTo>
                <a:cubicBezTo>
                  <a:pt x="269052" y="219696"/>
                  <a:pt x="286102" y="236746"/>
                  <a:pt x="286102" y="257796"/>
                </a:cubicBezTo>
                <a:cubicBezTo>
                  <a:pt x="286102" y="278846"/>
                  <a:pt x="269052" y="295896"/>
                  <a:pt x="248002" y="295896"/>
                </a:cubicBezTo>
                <a:lnTo>
                  <a:pt x="248002" y="295896"/>
                </a:lnTo>
                <a:lnTo>
                  <a:pt x="171802" y="295896"/>
                </a:lnTo>
                <a:lnTo>
                  <a:pt x="171802" y="219696"/>
                </a:lnTo>
                <a:lnTo>
                  <a:pt x="248002" y="219696"/>
                </a:lnTo>
                <a:close/>
                <a:moveTo>
                  <a:pt x="428977" y="133971"/>
                </a:moveTo>
                <a:lnTo>
                  <a:pt x="314677" y="133971"/>
                </a:lnTo>
                <a:lnTo>
                  <a:pt x="313534" y="133876"/>
                </a:lnTo>
                <a:cubicBezTo>
                  <a:pt x="308772" y="133304"/>
                  <a:pt x="305152" y="129304"/>
                  <a:pt x="305152" y="124446"/>
                </a:cubicBezTo>
                <a:lnTo>
                  <a:pt x="305152" y="124446"/>
                </a:lnTo>
                <a:lnTo>
                  <a:pt x="305152" y="10146"/>
                </a:lnTo>
                <a:lnTo>
                  <a:pt x="428977" y="13397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454258F5-1DA3-41BA-A743-7AABBB509272}"/>
              </a:ext>
            </a:extLst>
          </p:cNvPr>
          <p:cNvSpPr txBox="1"/>
          <p:nvPr/>
        </p:nvSpPr>
        <p:spPr>
          <a:xfrm>
            <a:off x="7379030" y="2273504"/>
            <a:ext cx="3542969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v="urn:schemas-microsoft-com:vml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rPr>
              <a:t> Synergistically utilize technically, Synergistically utilize technically sound portals with</a:t>
            </a:r>
          </a:p>
        </p:txBody>
      </p:sp>
      <p:sp>
        <p:nvSpPr>
          <p:cNvPr id="2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F698EFEC-E7E6-4C06-B0A4-C46029181331}"/>
              </a:ext>
            </a:extLst>
          </p:cNvPr>
          <p:cNvSpPr txBox="1"/>
          <p:nvPr/>
        </p:nvSpPr>
        <p:spPr>
          <a:xfrm>
            <a:off x="7692987" y="3406191"/>
            <a:ext cx="3476776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v="urn:schemas-microsoft-com:vml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lang="en-US" altLang="zh-CN" sz="1100" kern="0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rPr>
              <a:t>Synergistically utilize technically sound portals with, Synergistically utilize technically, Synergistically utilize technically sound portals with</a:t>
            </a:r>
          </a:p>
        </p:txBody>
      </p:sp>
      <p:sp>
        <p:nvSpPr>
          <p:cNvPr id="30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9FD94EF1-EC72-4562-842A-0BB21248CE27}"/>
              </a:ext>
            </a:extLst>
          </p:cNvPr>
          <p:cNvSpPr txBox="1"/>
          <p:nvPr/>
        </p:nvSpPr>
        <p:spPr>
          <a:xfrm>
            <a:off x="7184704" y="4612549"/>
            <a:ext cx="3462975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v="urn:schemas-microsoft-com:vml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lang="en-US" altLang="zh-CN" sz="1100" kern="0" dirty="0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rPr>
              <a:t>Synergistically utilize technically sound portals with, Synergistically utilize technically, Synergistically utilize technically sound portals with</a:t>
            </a:r>
          </a:p>
        </p:txBody>
      </p:sp>
      <p:grpSp>
        <p:nvGrpSpPr>
          <p:cNvPr id="41" name="Group 184">
            <a:extLst>
              <a:ext uri="{FF2B5EF4-FFF2-40B4-BE49-F238E27FC236}">
                <a16:creationId xmlns:a16="http://schemas.microsoft.com/office/drawing/2014/main" id="{1DE029B4-86A7-4B7D-AF4F-1E0365E603B8}"/>
              </a:ext>
            </a:extLst>
          </p:cNvPr>
          <p:cNvGrpSpPr/>
          <p:nvPr/>
        </p:nvGrpSpPr>
        <p:grpSpPr>
          <a:xfrm>
            <a:off x="10138870" y="530121"/>
            <a:ext cx="1651379" cy="1320136"/>
            <a:chOff x="10053740" y="592613"/>
            <a:chExt cx="1072349" cy="857252"/>
          </a:xfrm>
          <a:solidFill>
            <a:srgbClr val="FAD34D"/>
          </a:solidFill>
        </p:grpSpPr>
        <p:sp>
          <p:nvSpPr>
            <p:cNvPr id="42" name="Freeform: Shape 182">
              <a:extLst>
                <a:ext uri="{FF2B5EF4-FFF2-40B4-BE49-F238E27FC236}">
                  <a16:creationId xmlns:a16="http://schemas.microsoft.com/office/drawing/2014/main" id="{E1998FC4-7A22-45F9-87B3-86B15E65D6E1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-4572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3" name="Freeform: Shape 183">
              <a:extLst>
                <a:ext uri="{FF2B5EF4-FFF2-40B4-BE49-F238E27FC236}">
                  <a16:creationId xmlns:a16="http://schemas.microsoft.com/office/drawing/2014/main" id="{405E6F80-449B-4840-AC32-0B8736B35718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-4572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1693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v="urn:schemas-microsoft-com:vml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3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C4335FAC-FD00-40C5-A6D8-206FEC2616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34ABA11-9DA7-4A30-B756-B4CDCA30681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4291" y="821802"/>
            <a:ext cx="5932025" cy="5932025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E20E13C6-DA20-4F75-87DC-6765B3CBCC1B}"/>
              </a:ext>
            </a:extLst>
          </p:cNvPr>
          <p:cNvSpPr txBox="1"/>
          <p:nvPr/>
        </p:nvSpPr>
        <p:spPr>
          <a:xfrm>
            <a:off x="1214548" y="3628115"/>
            <a:ext cx="3994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>
                <a:solidFill>
                  <a:srgbClr val="0D3787"/>
                </a:solidFill>
                <a:cs typeface="+mn-ea"/>
                <a:sym typeface="+mn-lt"/>
              </a:rPr>
              <a:t>PART THREE</a:t>
            </a:r>
            <a:endParaRPr lang="zh-CN" altLang="en-US" sz="4800" b="1" dirty="0"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C7176937-2DCB-42A7-B005-E35BE77C9737}"/>
              </a:ext>
            </a:extLst>
          </p:cNvPr>
          <p:cNvSpPr txBox="1"/>
          <p:nvPr/>
        </p:nvSpPr>
        <p:spPr>
          <a:xfrm>
            <a:off x="1499049" y="4564873"/>
            <a:ext cx="2295615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rgbClr val="6C79BA"/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rgbClr val="6C79BA"/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rgbClr val="6C79BA"/>
                </a:solidFill>
                <a:cs typeface="+mn-ea"/>
                <a:sym typeface="+mn-lt"/>
              </a:rPr>
              <a:t> Synergistically utilize technically sound</a:t>
            </a:r>
          </a:p>
        </p:txBody>
      </p:sp>
      <p:sp>
        <p:nvSpPr>
          <p:cNvPr id="10" name="îṧ1ïḋé">
            <a:extLst>
              <a:ext uri="{FF2B5EF4-FFF2-40B4-BE49-F238E27FC236}">
                <a16:creationId xmlns:a16="http://schemas.microsoft.com/office/drawing/2014/main" id="{B5AA5A13-C86E-4C8D-892A-E7CB32ABCC28}"/>
              </a:ext>
            </a:extLst>
          </p:cNvPr>
          <p:cNvSpPr/>
          <p:nvPr/>
        </p:nvSpPr>
        <p:spPr>
          <a:xfrm>
            <a:off x="6290047" y="1778603"/>
            <a:ext cx="2001014" cy="3693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dist" defTabSz="914400"/>
            <a:r>
              <a:rPr lang="en-US" altLang="zh-CN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11" name="îṧ1ïḋé">
            <a:extLst>
              <a:ext uri="{FF2B5EF4-FFF2-40B4-BE49-F238E27FC236}">
                <a16:creationId xmlns:a16="http://schemas.microsoft.com/office/drawing/2014/main" id="{E2B097BA-B194-42C3-945F-386A7AFB144D}"/>
              </a:ext>
            </a:extLst>
          </p:cNvPr>
          <p:cNvSpPr/>
          <p:nvPr/>
        </p:nvSpPr>
        <p:spPr>
          <a:xfrm>
            <a:off x="669362" y="5894083"/>
            <a:ext cx="1402506" cy="369332"/>
          </a:xfrm>
          <a:prstGeom prst="roundRect">
            <a:avLst>
              <a:gd name="adj" fmla="val 50000"/>
            </a:avLst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dist" defTabSz="914400"/>
            <a:r>
              <a:rPr lang="en-US" altLang="zh-CN" sz="1050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17" name="Google Shape;537;p25">
            <a:extLst>
              <a:ext uri="{FF2B5EF4-FFF2-40B4-BE49-F238E27FC236}">
                <a16:creationId xmlns:a16="http://schemas.microsoft.com/office/drawing/2014/main" id="{1B5B09E6-268C-4B46-B540-347AB4A2DA78}"/>
              </a:ext>
            </a:extLst>
          </p:cNvPr>
          <p:cNvSpPr/>
          <p:nvPr/>
        </p:nvSpPr>
        <p:spPr>
          <a:xfrm rot="9266724">
            <a:off x="1040517" y="3729707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18" name="Google Shape;537;p25">
            <a:extLst>
              <a:ext uri="{FF2B5EF4-FFF2-40B4-BE49-F238E27FC236}">
                <a16:creationId xmlns:a16="http://schemas.microsoft.com/office/drawing/2014/main" id="{64B96D6A-0797-43A8-8899-A198C70273FF}"/>
              </a:ext>
            </a:extLst>
          </p:cNvPr>
          <p:cNvSpPr/>
          <p:nvPr/>
        </p:nvSpPr>
        <p:spPr>
          <a:xfrm rot="9266724">
            <a:off x="1040518" y="4129346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19" name="Google Shape;537;p25">
            <a:extLst>
              <a:ext uri="{FF2B5EF4-FFF2-40B4-BE49-F238E27FC236}">
                <a16:creationId xmlns:a16="http://schemas.microsoft.com/office/drawing/2014/main" id="{ED1E0558-0E69-4E53-AA22-626E687EFDF4}"/>
              </a:ext>
            </a:extLst>
          </p:cNvPr>
          <p:cNvSpPr/>
          <p:nvPr/>
        </p:nvSpPr>
        <p:spPr>
          <a:xfrm rot="9266724">
            <a:off x="1035455" y="4497491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1E3B8DD1-2F92-4F83-8407-FDB8D761047C}"/>
              </a:ext>
            </a:extLst>
          </p:cNvPr>
          <p:cNvGrpSpPr/>
          <p:nvPr/>
        </p:nvGrpSpPr>
        <p:grpSpPr>
          <a:xfrm rot="5400000">
            <a:off x="2021183" y="1062538"/>
            <a:ext cx="101370" cy="1330760"/>
            <a:chOff x="508216" y="2820579"/>
            <a:chExt cx="196770" cy="2583143"/>
          </a:xfrm>
          <a:solidFill>
            <a:srgbClr val="6C79BA"/>
          </a:solidFill>
        </p:grpSpPr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6DBCC032-C228-4F00-8BC9-6ABB576FCEF8}"/>
                </a:ext>
              </a:extLst>
            </p:cNvPr>
            <p:cNvSpPr/>
            <p:nvPr/>
          </p:nvSpPr>
          <p:spPr>
            <a:xfrm>
              <a:off x="508217" y="2820579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22" name="直接连接符 21">
              <a:extLst>
                <a:ext uri="{FF2B5EF4-FFF2-40B4-BE49-F238E27FC236}">
                  <a16:creationId xmlns:a16="http://schemas.microsoft.com/office/drawing/2014/main" id="{E4D16014-6217-45B2-BCF4-4920A867A4E0}"/>
                </a:ext>
              </a:extLst>
            </p:cNvPr>
            <p:cNvCxnSpPr/>
            <p:nvPr/>
          </p:nvCxnSpPr>
          <p:spPr>
            <a:xfrm>
              <a:off x="606601" y="3222594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C1AF9D28-6155-4F6A-B7ED-1E6CEAA00082}"/>
                </a:ext>
              </a:extLst>
            </p:cNvPr>
            <p:cNvSpPr/>
            <p:nvPr/>
          </p:nvSpPr>
          <p:spPr>
            <a:xfrm>
              <a:off x="508216" y="4013766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24" name="直接连接符 23">
              <a:extLst>
                <a:ext uri="{FF2B5EF4-FFF2-40B4-BE49-F238E27FC236}">
                  <a16:creationId xmlns:a16="http://schemas.microsoft.com/office/drawing/2014/main" id="{E8474D1B-8FBF-46CF-A281-929109FC8004}"/>
                </a:ext>
              </a:extLst>
            </p:cNvPr>
            <p:cNvCxnSpPr/>
            <p:nvPr/>
          </p:nvCxnSpPr>
          <p:spPr>
            <a:xfrm>
              <a:off x="606600" y="4415781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椭圆 24">
              <a:extLst>
                <a:ext uri="{FF2B5EF4-FFF2-40B4-BE49-F238E27FC236}">
                  <a16:creationId xmlns:a16="http://schemas.microsoft.com/office/drawing/2014/main" id="{26D179B6-2BD4-4139-BD98-D13AAE8269DB}"/>
                </a:ext>
              </a:extLst>
            </p:cNvPr>
            <p:cNvSpPr/>
            <p:nvPr/>
          </p:nvSpPr>
          <p:spPr>
            <a:xfrm>
              <a:off x="508216" y="5206953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2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D572736F-DD32-4722-A86F-D5529A5B60F6}"/>
              </a:ext>
            </a:extLst>
          </p:cNvPr>
          <p:cNvSpPr txBox="1"/>
          <p:nvPr/>
        </p:nvSpPr>
        <p:spPr>
          <a:xfrm>
            <a:off x="1417897" y="1049503"/>
            <a:ext cx="1307939" cy="3991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600" kern="0" dirty="0">
                <a:solidFill>
                  <a:srgbClr val="6C79BA"/>
                </a:solidFill>
                <a:cs typeface="+mn-ea"/>
                <a:sym typeface="+mn-lt"/>
              </a:rPr>
              <a:t>Synergistically utilize technically sound portals with frictionless </a:t>
            </a:r>
            <a:r>
              <a:rPr sz="600" kern="0" dirty="0" err="1">
                <a:solidFill>
                  <a:srgbClr val="6C79BA"/>
                </a:solidFill>
                <a:cs typeface="+mn-ea"/>
                <a:sym typeface="+mn-lt"/>
              </a:rPr>
              <a:t>chains</a:t>
            </a:r>
            <a:r>
              <a:rPr lang="en-US" altLang="zh-CN" sz="600" kern="0" dirty="0" err="1">
                <a:solidFill>
                  <a:srgbClr val="6C79BA"/>
                </a:solidFill>
                <a:cs typeface="+mn-ea"/>
                <a:sym typeface="+mn-lt"/>
              </a:rPr>
              <a:t>Synergistically</a:t>
            </a:r>
            <a:endParaRPr lang="en-US" altLang="zh-CN" sz="600" kern="0" dirty="0">
              <a:solidFill>
                <a:srgbClr val="6C79BA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62241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  <p:bldP spid="11" grpId="0"/>
      <p:bldP spid="2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31">
            <a:extLst>
              <a:ext uri="{FF2B5EF4-FFF2-40B4-BE49-F238E27FC236}">
                <a16:creationId xmlns:a16="http://schemas.microsoft.com/office/drawing/2014/main" id="{E7FB9039-B1C0-49A1-A3BC-F55A9EA99967}"/>
              </a:ext>
            </a:extLst>
          </p:cNvPr>
          <p:cNvSpPr txBox="1"/>
          <p:nvPr/>
        </p:nvSpPr>
        <p:spPr>
          <a:xfrm rot="10800000" flipH="1">
            <a:off x="-20800" y="4080168"/>
            <a:ext cx="3841958" cy="2809874"/>
          </a:xfrm>
          <a:custGeom>
            <a:avLst/>
            <a:gdLst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54452"/>
              <a:gd name="connsiteX1" fmla="*/ 6674304 w 6674304"/>
              <a:gd name="connsiteY1" fmla="*/ 0 h 5954452"/>
              <a:gd name="connsiteX2" fmla="*/ 6672463 w 6674304"/>
              <a:gd name="connsiteY2" fmla="*/ 3528 h 5954452"/>
              <a:gd name="connsiteX3" fmla="*/ 6142663 w 6674304"/>
              <a:gd name="connsiteY3" fmla="*/ 1686835 h 5954452"/>
              <a:gd name="connsiteX4" fmla="*/ 4132917 w 6674304"/>
              <a:gd name="connsiteY4" fmla="*/ 2753737 h 5954452"/>
              <a:gd name="connsiteX5" fmla="*/ 3289320 w 6674304"/>
              <a:gd name="connsiteY5" fmla="*/ 4862728 h 5954452"/>
              <a:gd name="connsiteX6" fmla="*/ 1763402 w 6674304"/>
              <a:gd name="connsiteY6" fmla="*/ 5954443 h 5954452"/>
              <a:gd name="connsiteX7" fmla="*/ 63803 w 6674304"/>
              <a:gd name="connsiteY7" fmla="*/ 5470616 h 5954452"/>
              <a:gd name="connsiteX8" fmla="*/ 0 w 6674304"/>
              <a:gd name="connsiteY8" fmla="*/ 5467195 h 5954452"/>
              <a:gd name="connsiteX9" fmla="*/ 0 w 6674304"/>
              <a:gd name="connsiteY9" fmla="*/ 0 h 5954452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323857 w 6674304"/>
              <a:gd name="connsiteY5" fmla="*/ 488071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7613"/>
              <a:gd name="connsiteX1" fmla="*/ 6674304 w 6674304"/>
              <a:gd name="connsiteY1" fmla="*/ 0 h 5957613"/>
              <a:gd name="connsiteX2" fmla="*/ 6672463 w 6674304"/>
              <a:gd name="connsiteY2" fmla="*/ 3528 h 5957613"/>
              <a:gd name="connsiteX3" fmla="*/ 6142663 w 6674304"/>
              <a:gd name="connsiteY3" fmla="*/ 1686835 h 5957613"/>
              <a:gd name="connsiteX4" fmla="*/ 4132917 w 6674304"/>
              <a:gd name="connsiteY4" fmla="*/ 2753737 h 5957613"/>
              <a:gd name="connsiteX5" fmla="*/ 3323857 w 6674304"/>
              <a:gd name="connsiteY5" fmla="*/ 4880718 h 5957613"/>
              <a:gd name="connsiteX6" fmla="*/ 1763402 w 6674304"/>
              <a:gd name="connsiteY6" fmla="*/ 5954443 h 5957613"/>
              <a:gd name="connsiteX7" fmla="*/ 63803 w 6674304"/>
              <a:gd name="connsiteY7" fmla="*/ 5470616 h 5957613"/>
              <a:gd name="connsiteX8" fmla="*/ 0 w 6674304"/>
              <a:gd name="connsiteY8" fmla="*/ 5467195 h 5957613"/>
              <a:gd name="connsiteX9" fmla="*/ 0 w 6674304"/>
              <a:gd name="connsiteY9" fmla="*/ 0 h 5957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74304" h="5957613">
                <a:moveTo>
                  <a:pt x="0" y="0"/>
                </a:moveTo>
                <a:lnTo>
                  <a:pt x="6674304" y="0"/>
                </a:lnTo>
                <a:lnTo>
                  <a:pt x="6672463" y="3528"/>
                </a:lnTo>
                <a:cubicBezTo>
                  <a:pt x="6485641" y="423111"/>
                  <a:pt x="6718539" y="1011007"/>
                  <a:pt x="6142663" y="1686835"/>
                </a:cubicBezTo>
                <a:cubicBezTo>
                  <a:pt x="5728792" y="2172540"/>
                  <a:pt x="4602718" y="2221423"/>
                  <a:pt x="4132917" y="2753737"/>
                </a:cubicBezTo>
                <a:cubicBezTo>
                  <a:pt x="3663116" y="3286051"/>
                  <a:pt x="3658337" y="4266313"/>
                  <a:pt x="3323857" y="4880718"/>
                </a:cubicBezTo>
                <a:cubicBezTo>
                  <a:pt x="2989377" y="5495123"/>
                  <a:pt x="2577285" y="5862125"/>
                  <a:pt x="1763402" y="5954443"/>
                </a:cubicBezTo>
                <a:cubicBezTo>
                  <a:pt x="1230133" y="6001788"/>
                  <a:pt x="551766" y="5503698"/>
                  <a:pt x="63803" y="5470616"/>
                </a:cubicBezTo>
                <a:lnTo>
                  <a:pt x="0" y="5467195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0" marR="0" lvl="1" indent="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latin typeface="+mn-lt"/>
              <a:cs typeface="+mn-ea"/>
              <a:sym typeface="+mn-lt"/>
            </a:endParaRPr>
          </a:p>
        </p:txBody>
      </p:sp>
      <p:sp>
        <p:nvSpPr>
          <p:cNvPr id="26" name="Freeform: Shape 28">
            <a:extLst>
              <a:ext uri="{FF2B5EF4-FFF2-40B4-BE49-F238E27FC236}">
                <a16:creationId xmlns:a16="http://schemas.microsoft.com/office/drawing/2014/main" id="{BF709F12-0348-4592-B13A-EEAC8D372363}"/>
              </a:ext>
            </a:extLst>
          </p:cNvPr>
          <p:cNvSpPr/>
          <p:nvPr/>
        </p:nvSpPr>
        <p:spPr>
          <a:xfrm>
            <a:off x="5451676" y="0"/>
            <a:ext cx="6740324" cy="6858000"/>
          </a:xfrm>
          <a:custGeom>
            <a:avLst/>
            <a:gdLst>
              <a:gd name="connsiteX0" fmla="*/ 6050384 w 8632154"/>
              <a:gd name="connsiteY0" fmla="*/ 0 h 6858000"/>
              <a:gd name="connsiteX1" fmla="*/ 8632154 w 8632154"/>
              <a:gd name="connsiteY1" fmla="*/ 0 h 6858000"/>
              <a:gd name="connsiteX2" fmla="*/ 8632154 w 8632154"/>
              <a:gd name="connsiteY2" fmla="*/ 6858000 h 6858000"/>
              <a:gd name="connsiteX3" fmla="*/ 0 w 8632154"/>
              <a:gd name="connsiteY3" fmla="*/ 6858000 h 6858000"/>
              <a:gd name="connsiteX4" fmla="*/ 17136 w 8632154"/>
              <a:gd name="connsiteY4" fmla="*/ 6850412 h 6858000"/>
              <a:gd name="connsiteX5" fmla="*/ 1326096 w 8632154"/>
              <a:gd name="connsiteY5" fmla="*/ 5732390 h 6858000"/>
              <a:gd name="connsiteX6" fmla="*/ 2315345 w 8632154"/>
              <a:gd name="connsiteY6" fmla="*/ 3259269 h 6858000"/>
              <a:gd name="connsiteX7" fmla="*/ 4672086 w 8632154"/>
              <a:gd name="connsiteY7" fmla="*/ 2008159 h 6858000"/>
              <a:gd name="connsiteX8" fmla="*/ 5848499 w 8632154"/>
              <a:gd name="connsiteY8" fmla="*/ 9045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32154" h="6858000">
                <a:moveTo>
                  <a:pt x="6050384" y="0"/>
                </a:moveTo>
                <a:lnTo>
                  <a:pt x="8632154" y="0"/>
                </a:lnTo>
                <a:lnTo>
                  <a:pt x="8632154" y="6858000"/>
                </a:lnTo>
                <a:lnTo>
                  <a:pt x="0" y="6858000"/>
                </a:lnTo>
                <a:lnTo>
                  <a:pt x="17136" y="6850412"/>
                </a:lnTo>
                <a:cubicBezTo>
                  <a:pt x="500509" y="6620261"/>
                  <a:pt x="978767" y="6201556"/>
                  <a:pt x="1326096" y="5732390"/>
                </a:cubicBezTo>
                <a:cubicBezTo>
                  <a:pt x="1789202" y="5106837"/>
                  <a:pt x="1757679" y="3879973"/>
                  <a:pt x="2315345" y="3259269"/>
                </a:cubicBezTo>
                <a:cubicBezTo>
                  <a:pt x="2873010" y="2638564"/>
                  <a:pt x="4167763" y="2560976"/>
                  <a:pt x="4672086" y="2008159"/>
                </a:cubicBezTo>
                <a:cubicBezTo>
                  <a:pt x="5085790" y="1554678"/>
                  <a:pt x="4955167" y="563510"/>
                  <a:pt x="5848499" y="90459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7" name="Google Shape;1023;p41">
            <a:extLst>
              <a:ext uri="{FF2B5EF4-FFF2-40B4-BE49-F238E27FC236}">
                <a16:creationId xmlns:a16="http://schemas.microsoft.com/office/drawing/2014/main" id="{E111C823-9906-4AD2-8EB4-35909D125165}"/>
              </a:ext>
            </a:extLst>
          </p:cNvPr>
          <p:cNvSpPr/>
          <p:nvPr/>
        </p:nvSpPr>
        <p:spPr>
          <a:xfrm>
            <a:off x="427735" y="1296773"/>
            <a:ext cx="11517337" cy="503046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EB30120B-9C99-4B62-9529-7A3FEBA87F21}"/>
              </a:ext>
            </a:extLst>
          </p:cNvPr>
          <p:cNvGrpSpPr/>
          <p:nvPr/>
        </p:nvGrpSpPr>
        <p:grpSpPr>
          <a:xfrm>
            <a:off x="541064" y="382712"/>
            <a:ext cx="2582174" cy="500937"/>
            <a:chOff x="423052" y="305730"/>
            <a:chExt cx="2582174" cy="500937"/>
          </a:xfrm>
          <a:gradFill>
            <a:gsLst>
              <a:gs pos="0">
                <a:srgbClr val="1669E0"/>
              </a:gs>
              <a:gs pos="100000">
                <a:srgbClr val="37A6FF"/>
              </a:gs>
            </a:gsLst>
            <a:lin ang="5400012" scaled="0"/>
          </a:gradFill>
        </p:grpSpPr>
        <p:sp>
          <p:nvSpPr>
            <p:cNvPr id="21" name="Rectangle: Rounded Corners 34">
              <a:extLst>
                <a:ext uri="{FF2B5EF4-FFF2-40B4-BE49-F238E27FC236}">
                  <a16:creationId xmlns:a16="http://schemas.microsoft.com/office/drawing/2014/main" id="{B5D4A748-0DE1-4A85-B0B3-1CD6F753EFB0}"/>
                </a:ext>
              </a:extLst>
            </p:cNvPr>
            <p:cNvSpPr/>
            <p:nvPr/>
          </p:nvSpPr>
          <p:spPr>
            <a:xfrm>
              <a:off x="815816" y="305730"/>
              <a:ext cx="1830269" cy="50093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r>
                <a:rPr lang="en-US">
                  <a:solidFill>
                    <a:prstClr val="white"/>
                  </a:solidFill>
                  <a:cs typeface="+mn-ea"/>
                  <a:sym typeface="+mn-lt"/>
                </a:rPr>
                <a:t> </a:t>
              </a:r>
              <a:endParaRPr lang="en-US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2" name="iṩļïḓè">
              <a:extLst>
                <a:ext uri="{FF2B5EF4-FFF2-40B4-BE49-F238E27FC236}">
                  <a16:creationId xmlns:a16="http://schemas.microsoft.com/office/drawing/2014/main" id="{0A51B54A-BFBA-4C10-B737-6EBE2D033ED5}"/>
                </a:ext>
              </a:extLst>
            </p:cNvPr>
            <p:cNvSpPr txBox="1"/>
            <p:nvPr/>
          </p:nvSpPr>
          <p:spPr bwMode="auto">
            <a:xfrm>
              <a:off x="943549" y="407694"/>
              <a:ext cx="1534794" cy="33865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solidFill>
                    <a:prstClr val="white"/>
                  </a:solidFill>
                  <a:latin typeface="Calibri" panose="020F05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dist" defTabSz="914400"/>
              <a:r>
                <a:rPr lang="en-US" altLang="zh-CN" sz="1400" dirty="0">
                  <a:solidFill>
                    <a:srgbClr val="0F65B4"/>
                  </a:solidFill>
                  <a:cs typeface="+mn-ea"/>
                  <a:sym typeface="+mn-lt"/>
                </a:rPr>
                <a:t>Jpppt.com</a:t>
              </a:r>
            </a:p>
          </p:txBody>
        </p: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44168853-E355-430A-BEEB-45BFFA0DC82A}"/>
                </a:ext>
              </a:extLst>
            </p:cNvPr>
            <p:cNvSpPr/>
            <p:nvPr/>
          </p:nvSpPr>
          <p:spPr>
            <a:xfrm>
              <a:off x="423052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4" name="椭圆 23">
              <a:extLst>
                <a:ext uri="{FF2B5EF4-FFF2-40B4-BE49-F238E27FC236}">
                  <a16:creationId xmlns:a16="http://schemas.microsoft.com/office/drawing/2014/main" id="{805D7B7E-4A00-4830-8C2C-29340158B0CF}"/>
                </a:ext>
              </a:extLst>
            </p:cNvPr>
            <p:cNvSpPr/>
            <p:nvPr/>
          </p:nvSpPr>
          <p:spPr>
            <a:xfrm>
              <a:off x="2800384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88BD0A52-47B8-4BE2-937A-D274E3CFF9B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68" y="1296773"/>
            <a:ext cx="4871720" cy="4871720"/>
          </a:xfrm>
          <a:prstGeom prst="rect">
            <a:avLst/>
          </a:prstGeom>
        </p:spPr>
      </p:pic>
      <p:sp>
        <p:nvSpPr>
          <p:cNvPr id="12" name="iSľiḋè">
            <a:extLst>
              <a:ext uri="{FF2B5EF4-FFF2-40B4-BE49-F238E27FC236}">
                <a16:creationId xmlns:a16="http://schemas.microsoft.com/office/drawing/2014/main" id="{71560E30-7066-41BB-A6F8-79FF2613854A}"/>
              </a:ext>
            </a:extLst>
          </p:cNvPr>
          <p:cNvSpPr/>
          <p:nvPr/>
        </p:nvSpPr>
        <p:spPr>
          <a:xfrm>
            <a:off x="6204524" y="1700528"/>
            <a:ext cx="2329243" cy="4314547"/>
          </a:xfrm>
          <a:prstGeom prst="roundRect">
            <a:avLst>
              <a:gd name="adj" fmla="val 1000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711200" dist="254000" dir="2700000" sx="102000" sy="102000" algn="tl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zh-CN" altLang="en-US" kern="0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3" name="išļiḓe">
            <a:extLst>
              <a:ext uri="{FF2B5EF4-FFF2-40B4-BE49-F238E27FC236}">
                <a16:creationId xmlns:a16="http://schemas.microsoft.com/office/drawing/2014/main" id="{1D433739-4507-433E-A888-3EB0DD4EA8FB}"/>
              </a:ext>
            </a:extLst>
          </p:cNvPr>
          <p:cNvSpPr/>
          <p:nvPr/>
        </p:nvSpPr>
        <p:spPr>
          <a:xfrm>
            <a:off x="7016827" y="2576413"/>
            <a:ext cx="704637" cy="704637"/>
          </a:xfrm>
          <a:prstGeom prst="ellipse">
            <a:avLst/>
          </a:prstGeom>
          <a:noFill/>
          <a:ln w="12700" cap="rnd">
            <a:solidFill>
              <a:schemeClr val="bg2">
                <a:lumMod val="2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4" name="íṡliḋê">
            <a:extLst>
              <a:ext uri="{FF2B5EF4-FFF2-40B4-BE49-F238E27FC236}">
                <a16:creationId xmlns:a16="http://schemas.microsoft.com/office/drawing/2014/main" id="{438E73C8-7C7B-414D-8B7C-255DE6D1049D}"/>
              </a:ext>
            </a:extLst>
          </p:cNvPr>
          <p:cNvSpPr/>
          <p:nvPr/>
        </p:nvSpPr>
        <p:spPr bwMode="auto">
          <a:xfrm>
            <a:off x="7193794" y="2734219"/>
            <a:ext cx="350703" cy="389025"/>
          </a:xfrm>
          <a:custGeom>
            <a:avLst/>
            <a:gdLst>
              <a:gd name="connsiteX0" fmla="*/ 362430 w 495300"/>
              <a:gd name="connsiteY0" fmla="*/ 621 h 533400"/>
              <a:gd name="connsiteX1" fmla="*/ 400530 w 495300"/>
              <a:gd name="connsiteY1" fmla="*/ 38721 h 533400"/>
              <a:gd name="connsiteX2" fmla="*/ 400530 w 495300"/>
              <a:gd name="connsiteY2" fmla="*/ 38721 h 533400"/>
              <a:gd name="connsiteX3" fmla="*/ 400530 w 495300"/>
              <a:gd name="connsiteY3" fmla="*/ 124446 h 533400"/>
              <a:gd name="connsiteX4" fmla="*/ 362430 w 495300"/>
              <a:gd name="connsiteY4" fmla="*/ 162546 h 533400"/>
              <a:gd name="connsiteX5" fmla="*/ 362430 w 495300"/>
              <a:gd name="connsiteY5" fmla="*/ 162546 h 533400"/>
              <a:gd name="connsiteX6" fmla="*/ 257655 w 495300"/>
              <a:gd name="connsiteY6" fmla="*/ 162546 h 533400"/>
              <a:gd name="connsiteX7" fmla="*/ 257655 w 495300"/>
              <a:gd name="connsiteY7" fmla="*/ 295896 h 533400"/>
              <a:gd name="connsiteX8" fmla="*/ 419580 w 495300"/>
              <a:gd name="connsiteY8" fmla="*/ 295896 h 533400"/>
              <a:gd name="connsiteX9" fmla="*/ 457680 w 495300"/>
              <a:gd name="connsiteY9" fmla="*/ 332091 h 533400"/>
              <a:gd name="connsiteX10" fmla="*/ 457680 w 495300"/>
              <a:gd name="connsiteY10" fmla="*/ 333996 h 533400"/>
              <a:gd name="connsiteX11" fmla="*/ 457680 w 495300"/>
              <a:gd name="connsiteY11" fmla="*/ 438771 h 533400"/>
              <a:gd name="connsiteX12" fmla="*/ 467205 w 495300"/>
              <a:gd name="connsiteY12" fmla="*/ 438771 h 533400"/>
              <a:gd name="connsiteX13" fmla="*/ 495780 w 495300"/>
              <a:gd name="connsiteY13" fmla="*/ 465441 h 533400"/>
              <a:gd name="connsiteX14" fmla="*/ 495780 w 495300"/>
              <a:gd name="connsiteY14" fmla="*/ 467346 h 533400"/>
              <a:gd name="connsiteX15" fmla="*/ 495780 w 495300"/>
              <a:gd name="connsiteY15" fmla="*/ 505446 h 533400"/>
              <a:gd name="connsiteX16" fmla="*/ 467205 w 495300"/>
              <a:gd name="connsiteY16" fmla="*/ 534021 h 533400"/>
              <a:gd name="connsiteX17" fmla="*/ 467205 w 495300"/>
              <a:gd name="connsiteY17" fmla="*/ 534021 h 533400"/>
              <a:gd name="connsiteX18" fmla="*/ 429105 w 495300"/>
              <a:gd name="connsiteY18" fmla="*/ 534021 h 533400"/>
              <a:gd name="connsiteX19" fmla="*/ 400530 w 495300"/>
              <a:gd name="connsiteY19" fmla="*/ 505446 h 533400"/>
              <a:gd name="connsiteX20" fmla="*/ 400530 w 495300"/>
              <a:gd name="connsiteY20" fmla="*/ 505446 h 533400"/>
              <a:gd name="connsiteX21" fmla="*/ 400530 w 495300"/>
              <a:gd name="connsiteY21" fmla="*/ 467346 h 533400"/>
              <a:gd name="connsiteX22" fmla="*/ 429105 w 495300"/>
              <a:gd name="connsiteY22" fmla="*/ 438771 h 533400"/>
              <a:gd name="connsiteX23" fmla="*/ 429105 w 495300"/>
              <a:gd name="connsiteY23" fmla="*/ 438771 h 533400"/>
              <a:gd name="connsiteX24" fmla="*/ 438630 w 495300"/>
              <a:gd name="connsiteY24" fmla="*/ 438771 h 533400"/>
              <a:gd name="connsiteX25" fmla="*/ 438630 w 495300"/>
              <a:gd name="connsiteY25" fmla="*/ 333996 h 533400"/>
              <a:gd name="connsiteX26" fmla="*/ 420533 w 495300"/>
              <a:gd name="connsiteY26" fmla="*/ 314946 h 533400"/>
              <a:gd name="connsiteX27" fmla="*/ 419580 w 495300"/>
              <a:gd name="connsiteY27" fmla="*/ 314946 h 533400"/>
              <a:gd name="connsiteX28" fmla="*/ 257655 w 495300"/>
              <a:gd name="connsiteY28" fmla="*/ 314946 h 533400"/>
              <a:gd name="connsiteX29" fmla="*/ 257655 w 495300"/>
              <a:gd name="connsiteY29" fmla="*/ 438771 h 533400"/>
              <a:gd name="connsiteX30" fmla="*/ 267180 w 495300"/>
              <a:gd name="connsiteY30" fmla="*/ 438771 h 533400"/>
              <a:gd name="connsiteX31" fmla="*/ 295755 w 495300"/>
              <a:gd name="connsiteY31" fmla="*/ 465441 h 533400"/>
              <a:gd name="connsiteX32" fmla="*/ 295755 w 495300"/>
              <a:gd name="connsiteY32" fmla="*/ 467346 h 533400"/>
              <a:gd name="connsiteX33" fmla="*/ 295755 w 495300"/>
              <a:gd name="connsiteY33" fmla="*/ 505446 h 533400"/>
              <a:gd name="connsiteX34" fmla="*/ 267180 w 495300"/>
              <a:gd name="connsiteY34" fmla="*/ 534021 h 533400"/>
              <a:gd name="connsiteX35" fmla="*/ 267180 w 495300"/>
              <a:gd name="connsiteY35" fmla="*/ 534021 h 533400"/>
              <a:gd name="connsiteX36" fmla="*/ 229080 w 495300"/>
              <a:gd name="connsiteY36" fmla="*/ 534021 h 533400"/>
              <a:gd name="connsiteX37" fmla="*/ 200505 w 495300"/>
              <a:gd name="connsiteY37" fmla="*/ 505446 h 533400"/>
              <a:gd name="connsiteX38" fmla="*/ 200505 w 495300"/>
              <a:gd name="connsiteY38" fmla="*/ 505446 h 533400"/>
              <a:gd name="connsiteX39" fmla="*/ 200505 w 495300"/>
              <a:gd name="connsiteY39" fmla="*/ 467346 h 533400"/>
              <a:gd name="connsiteX40" fmla="*/ 229080 w 495300"/>
              <a:gd name="connsiteY40" fmla="*/ 438771 h 533400"/>
              <a:gd name="connsiteX41" fmla="*/ 229080 w 495300"/>
              <a:gd name="connsiteY41" fmla="*/ 438771 h 533400"/>
              <a:gd name="connsiteX42" fmla="*/ 238605 w 495300"/>
              <a:gd name="connsiteY42" fmla="*/ 438771 h 533400"/>
              <a:gd name="connsiteX43" fmla="*/ 238605 w 495300"/>
              <a:gd name="connsiteY43" fmla="*/ 314946 h 533400"/>
              <a:gd name="connsiteX44" fmla="*/ 76680 w 495300"/>
              <a:gd name="connsiteY44" fmla="*/ 314946 h 533400"/>
              <a:gd name="connsiteX45" fmla="*/ 57630 w 495300"/>
              <a:gd name="connsiteY45" fmla="*/ 333044 h 533400"/>
              <a:gd name="connsiteX46" fmla="*/ 57630 w 495300"/>
              <a:gd name="connsiteY46" fmla="*/ 333996 h 533400"/>
              <a:gd name="connsiteX47" fmla="*/ 57630 w 495300"/>
              <a:gd name="connsiteY47" fmla="*/ 438771 h 533400"/>
              <a:gd name="connsiteX48" fmla="*/ 67155 w 495300"/>
              <a:gd name="connsiteY48" fmla="*/ 438771 h 533400"/>
              <a:gd name="connsiteX49" fmla="*/ 95730 w 495300"/>
              <a:gd name="connsiteY49" fmla="*/ 465441 h 533400"/>
              <a:gd name="connsiteX50" fmla="*/ 95730 w 495300"/>
              <a:gd name="connsiteY50" fmla="*/ 467346 h 533400"/>
              <a:gd name="connsiteX51" fmla="*/ 95730 w 495300"/>
              <a:gd name="connsiteY51" fmla="*/ 505446 h 533400"/>
              <a:gd name="connsiteX52" fmla="*/ 67155 w 495300"/>
              <a:gd name="connsiteY52" fmla="*/ 534021 h 533400"/>
              <a:gd name="connsiteX53" fmla="*/ 67155 w 495300"/>
              <a:gd name="connsiteY53" fmla="*/ 534021 h 533400"/>
              <a:gd name="connsiteX54" fmla="*/ 29055 w 495300"/>
              <a:gd name="connsiteY54" fmla="*/ 534021 h 533400"/>
              <a:gd name="connsiteX55" fmla="*/ 480 w 495300"/>
              <a:gd name="connsiteY55" fmla="*/ 505446 h 533400"/>
              <a:gd name="connsiteX56" fmla="*/ 480 w 495300"/>
              <a:gd name="connsiteY56" fmla="*/ 505446 h 533400"/>
              <a:gd name="connsiteX57" fmla="*/ 480 w 495300"/>
              <a:gd name="connsiteY57" fmla="*/ 467346 h 533400"/>
              <a:gd name="connsiteX58" fmla="*/ 29055 w 495300"/>
              <a:gd name="connsiteY58" fmla="*/ 438771 h 533400"/>
              <a:gd name="connsiteX59" fmla="*/ 29055 w 495300"/>
              <a:gd name="connsiteY59" fmla="*/ 438771 h 533400"/>
              <a:gd name="connsiteX60" fmla="*/ 38580 w 495300"/>
              <a:gd name="connsiteY60" fmla="*/ 438771 h 533400"/>
              <a:gd name="connsiteX61" fmla="*/ 38580 w 495300"/>
              <a:gd name="connsiteY61" fmla="*/ 333996 h 533400"/>
              <a:gd name="connsiteX62" fmla="*/ 74775 w 495300"/>
              <a:gd name="connsiteY62" fmla="*/ 295896 h 533400"/>
              <a:gd name="connsiteX63" fmla="*/ 76680 w 495300"/>
              <a:gd name="connsiteY63" fmla="*/ 295896 h 533400"/>
              <a:gd name="connsiteX64" fmla="*/ 238605 w 495300"/>
              <a:gd name="connsiteY64" fmla="*/ 295896 h 533400"/>
              <a:gd name="connsiteX65" fmla="*/ 238605 w 495300"/>
              <a:gd name="connsiteY65" fmla="*/ 162546 h 533400"/>
              <a:gd name="connsiteX66" fmla="*/ 133830 w 495300"/>
              <a:gd name="connsiteY66" fmla="*/ 162546 h 533400"/>
              <a:gd name="connsiteX67" fmla="*/ 95730 w 495300"/>
              <a:gd name="connsiteY67" fmla="*/ 126351 h 533400"/>
              <a:gd name="connsiteX68" fmla="*/ 95730 w 495300"/>
              <a:gd name="connsiteY68" fmla="*/ 124446 h 533400"/>
              <a:gd name="connsiteX69" fmla="*/ 95730 w 495300"/>
              <a:gd name="connsiteY69" fmla="*/ 38721 h 533400"/>
              <a:gd name="connsiteX70" fmla="*/ 133830 w 495300"/>
              <a:gd name="connsiteY70" fmla="*/ 621 h 533400"/>
              <a:gd name="connsiteX71" fmla="*/ 133830 w 495300"/>
              <a:gd name="connsiteY71" fmla="*/ 621 h 533400"/>
              <a:gd name="connsiteX72" fmla="*/ 362430 w 495300"/>
              <a:gd name="connsiteY72" fmla="*/ 621 h 533400"/>
              <a:gd name="connsiteX73" fmla="*/ 67155 w 495300"/>
              <a:gd name="connsiteY73" fmla="*/ 457821 h 533400"/>
              <a:gd name="connsiteX74" fmla="*/ 29055 w 495300"/>
              <a:gd name="connsiteY74" fmla="*/ 457821 h 533400"/>
              <a:gd name="connsiteX75" fmla="*/ 19530 w 495300"/>
              <a:gd name="connsiteY75" fmla="*/ 467346 h 533400"/>
              <a:gd name="connsiteX76" fmla="*/ 19530 w 495300"/>
              <a:gd name="connsiteY76" fmla="*/ 467346 h 533400"/>
              <a:gd name="connsiteX77" fmla="*/ 19530 w 495300"/>
              <a:gd name="connsiteY77" fmla="*/ 505446 h 533400"/>
              <a:gd name="connsiteX78" fmla="*/ 29055 w 495300"/>
              <a:gd name="connsiteY78" fmla="*/ 514971 h 533400"/>
              <a:gd name="connsiteX79" fmla="*/ 29055 w 495300"/>
              <a:gd name="connsiteY79" fmla="*/ 514971 h 533400"/>
              <a:gd name="connsiteX80" fmla="*/ 67155 w 495300"/>
              <a:gd name="connsiteY80" fmla="*/ 514971 h 533400"/>
              <a:gd name="connsiteX81" fmla="*/ 76680 w 495300"/>
              <a:gd name="connsiteY81" fmla="*/ 505446 h 533400"/>
              <a:gd name="connsiteX82" fmla="*/ 76680 w 495300"/>
              <a:gd name="connsiteY82" fmla="*/ 505446 h 533400"/>
              <a:gd name="connsiteX83" fmla="*/ 76680 w 495300"/>
              <a:gd name="connsiteY83" fmla="*/ 467346 h 533400"/>
              <a:gd name="connsiteX84" fmla="*/ 67155 w 495300"/>
              <a:gd name="connsiteY84" fmla="*/ 457821 h 533400"/>
              <a:gd name="connsiteX85" fmla="*/ 67155 w 495300"/>
              <a:gd name="connsiteY85" fmla="*/ 457821 h 533400"/>
              <a:gd name="connsiteX86" fmla="*/ 267180 w 495300"/>
              <a:gd name="connsiteY86" fmla="*/ 457821 h 533400"/>
              <a:gd name="connsiteX87" fmla="*/ 229080 w 495300"/>
              <a:gd name="connsiteY87" fmla="*/ 457821 h 533400"/>
              <a:gd name="connsiteX88" fmla="*/ 219555 w 495300"/>
              <a:gd name="connsiteY88" fmla="*/ 467346 h 533400"/>
              <a:gd name="connsiteX89" fmla="*/ 219555 w 495300"/>
              <a:gd name="connsiteY89" fmla="*/ 467346 h 533400"/>
              <a:gd name="connsiteX90" fmla="*/ 219555 w 495300"/>
              <a:gd name="connsiteY90" fmla="*/ 505446 h 533400"/>
              <a:gd name="connsiteX91" fmla="*/ 229080 w 495300"/>
              <a:gd name="connsiteY91" fmla="*/ 514971 h 533400"/>
              <a:gd name="connsiteX92" fmla="*/ 229080 w 495300"/>
              <a:gd name="connsiteY92" fmla="*/ 514971 h 533400"/>
              <a:gd name="connsiteX93" fmla="*/ 267180 w 495300"/>
              <a:gd name="connsiteY93" fmla="*/ 514971 h 533400"/>
              <a:gd name="connsiteX94" fmla="*/ 276705 w 495300"/>
              <a:gd name="connsiteY94" fmla="*/ 505446 h 533400"/>
              <a:gd name="connsiteX95" fmla="*/ 276705 w 495300"/>
              <a:gd name="connsiteY95" fmla="*/ 505446 h 533400"/>
              <a:gd name="connsiteX96" fmla="*/ 276705 w 495300"/>
              <a:gd name="connsiteY96" fmla="*/ 467346 h 533400"/>
              <a:gd name="connsiteX97" fmla="*/ 267180 w 495300"/>
              <a:gd name="connsiteY97" fmla="*/ 457821 h 533400"/>
              <a:gd name="connsiteX98" fmla="*/ 267180 w 495300"/>
              <a:gd name="connsiteY98" fmla="*/ 457821 h 533400"/>
              <a:gd name="connsiteX99" fmla="*/ 467205 w 495300"/>
              <a:gd name="connsiteY99" fmla="*/ 457821 h 533400"/>
              <a:gd name="connsiteX100" fmla="*/ 429105 w 495300"/>
              <a:gd name="connsiteY100" fmla="*/ 457821 h 533400"/>
              <a:gd name="connsiteX101" fmla="*/ 419580 w 495300"/>
              <a:gd name="connsiteY101" fmla="*/ 467346 h 533400"/>
              <a:gd name="connsiteX102" fmla="*/ 419580 w 495300"/>
              <a:gd name="connsiteY102" fmla="*/ 467346 h 533400"/>
              <a:gd name="connsiteX103" fmla="*/ 419580 w 495300"/>
              <a:gd name="connsiteY103" fmla="*/ 505446 h 533400"/>
              <a:gd name="connsiteX104" fmla="*/ 429105 w 495300"/>
              <a:gd name="connsiteY104" fmla="*/ 514971 h 533400"/>
              <a:gd name="connsiteX105" fmla="*/ 429105 w 495300"/>
              <a:gd name="connsiteY105" fmla="*/ 514971 h 533400"/>
              <a:gd name="connsiteX106" fmla="*/ 467205 w 495300"/>
              <a:gd name="connsiteY106" fmla="*/ 514971 h 533400"/>
              <a:gd name="connsiteX107" fmla="*/ 476730 w 495300"/>
              <a:gd name="connsiteY107" fmla="*/ 505446 h 533400"/>
              <a:gd name="connsiteX108" fmla="*/ 476730 w 495300"/>
              <a:gd name="connsiteY108" fmla="*/ 505446 h 533400"/>
              <a:gd name="connsiteX109" fmla="*/ 476730 w 495300"/>
              <a:gd name="connsiteY109" fmla="*/ 467346 h 533400"/>
              <a:gd name="connsiteX110" fmla="*/ 467205 w 495300"/>
              <a:gd name="connsiteY110" fmla="*/ 457821 h 533400"/>
              <a:gd name="connsiteX111" fmla="*/ 467205 w 495300"/>
              <a:gd name="connsiteY111" fmla="*/ 457821 h 533400"/>
              <a:gd name="connsiteX112" fmla="*/ 362430 w 495300"/>
              <a:gd name="connsiteY112" fmla="*/ 19671 h 533400"/>
              <a:gd name="connsiteX113" fmla="*/ 133830 w 495300"/>
              <a:gd name="connsiteY113" fmla="*/ 19671 h 533400"/>
              <a:gd name="connsiteX114" fmla="*/ 114780 w 495300"/>
              <a:gd name="connsiteY114" fmla="*/ 38721 h 533400"/>
              <a:gd name="connsiteX115" fmla="*/ 114780 w 495300"/>
              <a:gd name="connsiteY115" fmla="*/ 38721 h 533400"/>
              <a:gd name="connsiteX116" fmla="*/ 114780 w 495300"/>
              <a:gd name="connsiteY116" fmla="*/ 124446 h 533400"/>
              <a:gd name="connsiteX117" fmla="*/ 133830 w 495300"/>
              <a:gd name="connsiteY117" fmla="*/ 143496 h 533400"/>
              <a:gd name="connsiteX118" fmla="*/ 133830 w 495300"/>
              <a:gd name="connsiteY118" fmla="*/ 143496 h 533400"/>
              <a:gd name="connsiteX119" fmla="*/ 362430 w 495300"/>
              <a:gd name="connsiteY119" fmla="*/ 143496 h 533400"/>
              <a:gd name="connsiteX120" fmla="*/ 381480 w 495300"/>
              <a:gd name="connsiteY120" fmla="*/ 124446 h 533400"/>
              <a:gd name="connsiteX121" fmla="*/ 381480 w 495300"/>
              <a:gd name="connsiteY121" fmla="*/ 124446 h 533400"/>
              <a:gd name="connsiteX122" fmla="*/ 381480 w 495300"/>
              <a:gd name="connsiteY122" fmla="*/ 38721 h 533400"/>
              <a:gd name="connsiteX123" fmla="*/ 362430 w 495300"/>
              <a:gd name="connsiteY123" fmla="*/ 19671 h 533400"/>
              <a:gd name="connsiteX124" fmla="*/ 362430 w 495300"/>
              <a:gd name="connsiteY124" fmla="*/ 19671 h 533400"/>
              <a:gd name="connsiteX125" fmla="*/ 157643 w 495300"/>
              <a:gd name="connsiteY125" fmla="*/ 86346 h 533400"/>
              <a:gd name="connsiteX126" fmla="*/ 171930 w 495300"/>
              <a:gd name="connsiteY126" fmla="*/ 100634 h 533400"/>
              <a:gd name="connsiteX127" fmla="*/ 157643 w 495300"/>
              <a:gd name="connsiteY127" fmla="*/ 114921 h 533400"/>
              <a:gd name="connsiteX128" fmla="*/ 143355 w 495300"/>
              <a:gd name="connsiteY128" fmla="*/ 100634 h 533400"/>
              <a:gd name="connsiteX129" fmla="*/ 157643 w 495300"/>
              <a:gd name="connsiteY129" fmla="*/ 86346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495300" h="533400">
                <a:moveTo>
                  <a:pt x="362430" y="621"/>
                </a:moveTo>
                <a:cubicBezTo>
                  <a:pt x="383385" y="621"/>
                  <a:pt x="400530" y="17766"/>
                  <a:pt x="400530" y="38721"/>
                </a:cubicBezTo>
                <a:lnTo>
                  <a:pt x="400530" y="38721"/>
                </a:lnTo>
                <a:lnTo>
                  <a:pt x="400530" y="124446"/>
                </a:lnTo>
                <a:cubicBezTo>
                  <a:pt x="400530" y="145401"/>
                  <a:pt x="383385" y="162546"/>
                  <a:pt x="362430" y="162546"/>
                </a:cubicBezTo>
                <a:lnTo>
                  <a:pt x="362430" y="162546"/>
                </a:lnTo>
                <a:lnTo>
                  <a:pt x="257655" y="162546"/>
                </a:lnTo>
                <a:lnTo>
                  <a:pt x="257655" y="295896"/>
                </a:lnTo>
                <a:lnTo>
                  <a:pt x="419580" y="295896"/>
                </a:lnTo>
                <a:cubicBezTo>
                  <a:pt x="439583" y="295896"/>
                  <a:pt x="456727" y="312089"/>
                  <a:pt x="457680" y="332091"/>
                </a:cubicBezTo>
                <a:lnTo>
                  <a:pt x="457680" y="333996"/>
                </a:lnTo>
                <a:lnTo>
                  <a:pt x="457680" y="438771"/>
                </a:lnTo>
                <a:lnTo>
                  <a:pt x="467205" y="438771"/>
                </a:lnTo>
                <a:cubicBezTo>
                  <a:pt x="482445" y="438771"/>
                  <a:pt x="494827" y="450201"/>
                  <a:pt x="495780" y="465441"/>
                </a:cubicBezTo>
                <a:lnTo>
                  <a:pt x="495780" y="467346"/>
                </a:lnTo>
                <a:lnTo>
                  <a:pt x="495780" y="505446"/>
                </a:lnTo>
                <a:cubicBezTo>
                  <a:pt x="495780" y="521639"/>
                  <a:pt x="483398" y="534021"/>
                  <a:pt x="467205" y="534021"/>
                </a:cubicBezTo>
                <a:lnTo>
                  <a:pt x="467205" y="534021"/>
                </a:lnTo>
                <a:lnTo>
                  <a:pt x="429105" y="534021"/>
                </a:lnTo>
                <a:cubicBezTo>
                  <a:pt x="412912" y="534021"/>
                  <a:pt x="400530" y="521639"/>
                  <a:pt x="400530" y="505446"/>
                </a:cubicBezTo>
                <a:lnTo>
                  <a:pt x="400530" y="505446"/>
                </a:lnTo>
                <a:lnTo>
                  <a:pt x="400530" y="467346"/>
                </a:lnTo>
                <a:cubicBezTo>
                  <a:pt x="400530" y="451153"/>
                  <a:pt x="412912" y="438771"/>
                  <a:pt x="429105" y="438771"/>
                </a:cubicBezTo>
                <a:lnTo>
                  <a:pt x="429105" y="438771"/>
                </a:lnTo>
                <a:lnTo>
                  <a:pt x="438630" y="438771"/>
                </a:lnTo>
                <a:lnTo>
                  <a:pt x="438630" y="333996"/>
                </a:lnTo>
                <a:cubicBezTo>
                  <a:pt x="438630" y="323519"/>
                  <a:pt x="431010" y="315898"/>
                  <a:pt x="420533" y="314946"/>
                </a:cubicBezTo>
                <a:lnTo>
                  <a:pt x="419580" y="314946"/>
                </a:lnTo>
                <a:lnTo>
                  <a:pt x="257655" y="314946"/>
                </a:lnTo>
                <a:lnTo>
                  <a:pt x="257655" y="438771"/>
                </a:lnTo>
                <a:lnTo>
                  <a:pt x="267180" y="438771"/>
                </a:lnTo>
                <a:cubicBezTo>
                  <a:pt x="282420" y="438771"/>
                  <a:pt x="294802" y="450201"/>
                  <a:pt x="295755" y="465441"/>
                </a:cubicBezTo>
                <a:lnTo>
                  <a:pt x="295755" y="467346"/>
                </a:lnTo>
                <a:lnTo>
                  <a:pt x="295755" y="505446"/>
                </a:lnTo>
                <a:cubicBezTo>
                  <a:pt x="295755" y="521639"/>
                  <a:pt x="283373" y="534021"/>
                  <a:pt x="267180" y="534021"/>
                </a:cubicBezTo>
                <a:lnTo>
                  <a:pt x="267180" y="534021"/>
                </a:lnTo>
                <a:lnTo>
                  <a:pt x="229080" y="534021"/>
                </a:lnTo>
                <a:cubicBezTo>
                  <a:pt x="212887" y="534021"/>
                  <a:pt x="200505" y="521639"/>
                  <a:pt x="200505" y="505446"/>
                </a:cubicBezTo>
                <a:lnTo>
                  <a:pt x="200505" y="505446"/>
                </a:lnTo>
                <a:lnTo>
                  <a:pt x="200505" y="467346"/>
                </a:lnTo>
                <a:cubicBezTo>
                  <a:pt x="200505" y="451153"/>
                  <a:pt x="212887" y="438771"/>
                  <a:pt x="229080" y="438771"/>
                </a:cubicBezTo>
                <a:lnTo>
                  <a:pt x="229080" y="438771"/>
                </a:lnTo>
                <a:lnTo>
                  <a:pt x="238605" y="438771"/>
                </a:lnTo>
                <a:lnTo>
                  <a:pt x="238605" y="314946"/>
                </a:lnTo>
                <a:lnTo>
                  <a:pt x="76680" y="314946"/>
                </a:lnTo>
                <a:cubicBezTo>
                  <a:pt x="66202" y="314946"/>
                  <a:pt x="58583" y="322566"/>
                  <a:pt x="57630" y="333044"/>
                </a:cubicBezTo>
                <a:lnTo>
                  <a:pt x="57630" y="333996"/>
                </a:lnTo>
                <a:lnTo>
                  <a:pt x="57630" y="438771"/>
                </a:lnTo>
                <a:lnTo>
                  <a:pt x="67155" y="438771"/>
                </a:lnTo>
                <a:cubicBezTo>
                  <a:pt x="82395" y="438771"/>
                  <a:pt x="94777" y="450201"/>
                  <a:pt x="95730" y="465441"/>
                </a:cubicBezTo>
                <a:lnTo>
                  <a:pt x="95730" y="467346"/>
                </a:lnTo>
                <a:lnTo>
                  <a:pt x="95730" y="505446"/>
                </a:lnTo>
                <a:cubicBezTo>
                  <a:pt x="95730" y="521639"/>
                  <a:pt x="83348" y="534021"/>
                  <a:pt x="67155" y="534021"/>
                </a:cubicBezTo>
                <a:lnTo>
                  <a:pt x="67155" y="534021"/>
                </a:lnTo>
                <a:lnTo>
                  <a:pt x="29055" y="534021"/>
                </a:lnTo>
                <a:cubicBezTo>
                  <a:pt x="12862" y="534021"/>
                  <a:pt x="480" y="521639"/>
                  <a:pt x="480" y="505446"/>
                </a:cubicBezTo>
                <a:lnTo>
                  <a:pt x="480" y="505446"/>
                </a:lnTo>
                <a:lnTo>
                  <a:pt x="480" y="467346"/>
                </a:lnTo>
                <a:cubicBezTo>
                  <a:pt x="480" y="451153"/>
                  <a:pt x="12862" y="438771"/>
                  <a:pt x="29055" y="438771"/>
                </a:cubicBezTo>
                <a:lnTo>
                  <a:pt x="29055" y="438771"/>
                </a:lnTo>
                <a:lnTo>
                  <a:pt x="38580" y="438771"/>
                </a:lnTo>
                <a:lnTo>
                  <a:pt x="38580" y="333996"/>
                </a:lnTo>
                <a:cubicBezTo>
                  <a:pt x="38580" y="313994"/>
                  <a:pt x="54773" y="296848"/>
                  <a:pt x="74775" y="295896"/>
                </a:cubicBezTo>
                <a:lnTo>
                  <a:pt x="76680" y="295896"/>
                </a:lnTo>
                <a:lnTo>
                  <a:pt x="238605" y="295896"/>
                </a:lnTo>
                <a:lnTo>
                  <a:pt x="238605" y="162546"/>
                </a:lnTo>
                <a:lnTo>
                  <a:pt x="133830" y="162546"/>
                </a:lnTo>
                <a:cubicBezTo>
                  <a:pt x="113827" y="162546"/>
                  <a:pt x="96683" y="146353"/>
                  <a:pt x="95730" y="126351"/>
                </a:cubicBezTo>
                <a:lnTo>
                  <a:pt x="95730" y="124446"/>
                </a:lnTo>
                <a:lnTo>
                  <a:pt x="95730" y="38721"/>
                </a:lnTo>
                <a:cubicBezTo>
                  <a:pt x="95730" y="17766"/>
                  <a:pt x="112875" y="621"/>
                  <a:pt x="133830" y="621"/>
                </a:cubicBezTo>
                <a:lnTo>
                  <a:pt x="133830" y="621"/>
                </a:lnTo>
                <a:lnTo>
                  <a:pt x="362430" y="621"/>
                </a:lnTo>
                <a:close/>
                <a:moveTo>
                  <a:pt x="67155" y="457821"/>
                </a:moveTo>
                <a:lnTo>
                  <a:pt x="29055" y="457821"/>
                </a:lnTo>
                <a:cubicBezTo>
                  <a:pt x="23340" y="457821"/>
                  <a:pt x="19530" y="461631"/>
                  <a:pt x="19530" y="467346"/>
                </a:cubicBezTo>
                <a:lnTo>
                  <a:pt x="19530" y="467346"/>
                </a:lnTo>
                <a:lnTo>
                  <a:pt x="19530" y="505446"/>
                </a:lnTo>
                <a:cubicBezTo>
                  <a:pt x="19530" y="511161"/>
                  <a:pt x="23340" y="514971"/>
                  <a:pt x="29055" y="514971"/>
                </a:cubicBezTo>
                <a:lnTo>
                  <a:pt x="29055" y="514971"/>
                </a:lnTo>
                <a:lnTo>
                  <a:pt x="67155" y="514971"/>
                </a:lnTo>
                <a:cubicBezTo>
                  <a:pt x="72870" y="514971"/>
                  <a:pt x="76680" y="511161"/>
                  <a:pt x="76680" y="505446"/>
                </a:cubicBezTo>
                <a:lnTo>
                  <a:pt x="76680" y="505446"/>
                </a:lnTo>
                <a:lnTo>
                  <a:pt x="76680" y="467346"/>
                </a:lnTo>
                <a:cubicBezTo>
                  <a:pt x="76680" y="461631"/>
                  <a:pt x="72870" y="457821"/>
                  <a:pt x="67155" y="457821"/>
                </a:cubicBezTo>
                <a:lnTo>
                  <a:pt x="67155" y="457821"/>
                </a:lnTo>
                <a:close/>
                <a:moveTo>
                  <a:pt x="267180" y="457821"/>
                </a:moveTo>
                <a:lnTo>
                  <a:pt x="229080" y="457821"/>
                </a:lnTo>
                <a:cubicBezTo>
                  <a:pt x="223365" y="457821"/>
                  <a:pt x="219555" y="461631"/>
                  <a:pt x="219555" y="467346"/>
                </a:cubicBezTo>
                <a:lnTo>
                  <a:pt x="219555" y="467346"/>
                </a:lnTo>
                <a:lnTo>
                  <a:pt x="219555" y="505446"/>
                </a:lnTo>
                <a:cubicBezTo>
                  <a:pt x="219555" y="511161"/>
                  <a:pt x="223365" y="514971"/>
                  <a:pt x="229080" y="514971"/>
                </a:cubicBezTo>
                <a:lnTo>
                  <a:pt x="229080" y="514971"/>
                </a:lnTo>
                <a:lnTo>
                  <a:pt x="267180" y="514971"/>
                </a:lnTo>
                <a:cubicBezTo>
                  <a:pt x="272895" y="514971"/>
                  <a:pt x="276705" y="511161"/>
                  <a:pt x="276705" y="505446"/>
                </a:cubicBezTo>
                <a:lnTo>
                  <a:pt x="276705" y="505446"/>
                </a:lnTo>
                <a:lnTo>
                  <a:pt x="276705" y="467346"/>
                </a:lnTo>
                <a:cubicBezTo>
                  <a:pt x="276705" y="461631"/>
                  <a:pt x="272895" y="457821"/>
                  <a:pt x="267180" y="457821"/>
                </a:cubicBezTo>
                <a:lnTo>
                  <a:pt x="267180" y="457821"/>
                </a:lnTo>
                <a:close/>
                <a:moveTo>
                  <a:pt x="467205" y="457821"/>
                </a:moveTo>
                <a:lnTo>
                  <a:pt x="429105" y="457821"/>
                </a:lnTo>
                <a:cubicBezTo>
                  <a:pt x="423390" y="457821"/>
                  <a:pt x="419580" y="461631"/>
                  <a:pt x="419580" y="467346"/>
                </a:cubicBezTo>
                <a:lnTo>
                  <a:pt x="419580" y="467346"/>
                </a:lnTo>
                <a:lnTo>
                  <a:pt x="419580" y="505446"/>
                </a:lnTo>
                <a:cubicBezTo>
                  <a:pt x="419580" y="511161"/>
                  <a:pt x="423390" y="514971"/>
                  <a:pt x="429105" y="514971"/>
                </a:cubicBezTo>
                <a:lnTo>
                  <a:pt x="429105" y="514971"/>
                </a:lnTo>
                <a:lnTo>
                  <a:pt x="467205" y="514971"/>
                </a:lnTo>
                <a:cubicBezTo>
                  <a:pt x="472920" y="514971"/>
                  <a:pt x="476730" y="511161"/>
                  <a:pt x="476730" y="505446"/>
                </a:cubicBezTo>
                <a:lnTo>
                  <a:pt x="476730" y="505446"/>
                </a:lnTo>
                <a:lnTo>
                  <a:pt x="476730" y="467346"/>
                </a:lnTo>
                <a:cubicBezTo>
                  <a:pt x="476730" y="461631"/>
                  <a:pt x="472920" y="457821"/>
                  <a:pt x="467205" y="457821"/>
                </a:cubicBezTo>
                <a:lnTo>
                  <a:pt x="467205" y="457821"/>
                </a:lnTo>
                <a:close/>
                <a:moveTo>
                  <a:pt x="362430" y="19671"/>
                </a:moveTo>
                <a:lnTo>
                  <a:pt x="133830" y="19671"/>
                </a:lnTo>
                <a:cubicBezTo>
                  <a:pt x="123352" y="19671"/>
                  <a:pt x="114780" y="28244"/>
                  <a:pt x="114780" y="38721"/>
                </a:cubicBezTo>
                <a:lnTo>
                  <a:pt x="114780" y="38721"/>
                </a:lnTo>
                <a:lnTo>
                  <a:pt x="114780" y="124446"/>
                </a:lnTo>
                <a:cubicBezTo>
                  <a:pt x="114780" y="134923"/>
                  <a:pt x="123352" y="143496"/>
                  <a:pt x="133830" y="143496"/>
                </a:cubicBezTo>
                <a:lnTo>
                  <a:pt x="133830" y="143496"/>
                </a:lnTo>
                <a:lnTo>
                  <a:pt x="362430" y="143496"/>
                </a:lnTo>
                <a:cubicBezTo>
                  <a:pt x="372908" y="143496"/>
                  <a:pt x="381480" y="134923"/>
                  <a:pt x="381480" y="124446"/>
                </a:cubicBezTo>
                <a:lnTo>
                  <a:pt x="381480" y="124446"/>
                </a:lnTo>
                <a:lnTo>
                  <a:pt x="381480" y="38721"/>
                </a:lnTo>
                <a:cubicBezTo>
                  <a:pt x="381480" y="28244"/>
                  <a:pt x="372908" y="19671"/>
                  <a:pt x="362430" y="19671"/>
                </a:cubicBezTo>
                <a:lnTo>
                  <a:pt x="362430" y="19671"/>
                </a:lnTo>
                <a:close/>
                <a:moveTo>
                  <a:pt x="157643" y="86346"/>
                </a:moveTo>
                <a:cubicBezTo>
                  <a:pt x="165262" y="86346"/>
                  <a:pt x="171930" y="93014"/>
                  <a:pt x="171930" y="100634"/>
                </a:cubicBezTo>
                <a:cubicBezTo>
                  <a:pt x="171930" y="108253"/>
                  <a:pt x="165262" y="114921"/>
                  <a:pt x="157643" y="114921"/>
                </a:cubicBezTo>
                <a:cubicBezTo>
                  <a:pt x="150023" y="114921"/>
                  <a:pt x="143355" y="108253"/>
                  <a:pt x="143355" y="100634"/>
                </a:cubicBezTo>
                <a:cubicBezTo>
                  <a:pt x="143355" y="93014"/>
                  <a:pt x="150023" y="86346"/>
                  <a:pt x="157643" y="8634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5" name="iSľiḋè">
            <a:extLst>
              <a:ext uri="{FF2B5EF4-FFF2-40B4-BE49-F238E27FC236}">
                <a16:creationId xmlns:a16="http://schemas.microsoft.com/office/drawing/2014/main" id="{E91AAFA0-15E0-4878-8E85-7417581EB8F6}"/>
              </a:ext>
            </a:extLst>
          </p:cNvPr>
          <p:cNvSpPr/>
          <p:nvPr/>
        </p:nvSpPr>
        <p:spPr>
          <a:xfrm>
            <a:off x="8947724" y="1700528"/>
            <a:ext cx="2329243" cy="4314547"/>
          </a:xfrm>
          <a:prstGeom prst="roundRect">
            <a:avLst>
              <a:gd name="adj" fmla="val 1000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711200" dist="254000" dir="2700000" sx="102000" sy="102000" algn="tl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zh-CN" altLang="en-US" kern="0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6" name="išļiḓe">
            <a:extLst>
              <a:ext uri="{FF2B5EF4-FFF2-40B4-BE49-F238E27FC236}">
                <a16:creationId xmlns:a16="http://schemas.microsoft.com/office/drawing/2014/main" id="{2D58766A-B979-4711-943C-8545E53E7F66}"/>
              </a:ext>
            </a:extLst>
          </p:cNvPr>
          <p:cNvSpPr/>
          <p:nvPr/>
        </p:nvSpPr>
        <p:spPr>
          <a:xfrm>
            <a:off x="9760027" y="2576413"/>
            <a:ext cx="704637" cy="704637"/>
          </a:xfrm>
          <a:prstGeom prst="ellipse">
            <a:avLst/>
          </a:prstGeom>
          <a:noFill/>
          <a:ln w="12700" cap="rnd">
            <a:solidFill>
              <a:schemeClr val="bg2">
                <a:lumMod val="2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7" name="íṡliḋê">
            <a:extLst>
              <a:ext uri="{FF2B5EF4-FFF2-40B4-BE49-F238E27FC236}">
                <a16:creationId xmlns:a16="http://schemas.microsoft.com/office/drawing/2014/main" id="{E68386EB-38AA-43EC-99E6-835E955FB1E5}"/>
              </a:ext>
            </a:extLst>
          </p:cNvPr>
          <p:cNvSpPr/>
          <p:nvPr/>
        </p:nvSpPr>
        <p:spPr bwMode="auto">
          <a:xfrm>
            <a:off x="9936994" y="2734219"/>
            <a:ext cx="350703" cy="389025"/>
          </a:xfrm>
          <a:custGeom>
            <a:avLst/>
            <a:gdLst>
              <a:gd name="connsiteX0" fmla="*/ 362430 w 495300"/>
              <a:gd name="connsiteY0" fmla="*/ 621 h 533400"/>
              <a:gd name="connsiteX1" fmla="*/ 400530 w 495300"/>
              <a:gd name="connsiteY1" fmla="*/ 38721 h 533400"/>
              <a:gd name="connsiteX2" fmla="*/ 400530 w 495300"/>
              <a:gd name="connsiteY2" fmla="*/ 38721 h 533400"/>
              <a:gd name="connsiteX3" fmla="*/ 400530 w 495300"/>
              <a:gd name="connsiteY3" fmla="*/ 124446 h 533400"/>
              <a:gd name="connsiteX4" fmla="*/ 362430 w 495300"/>
              <a:gd name="connsiteY4" fmla="*/ 162546 h 533400"/>
              <a:gd name="connsiteX5" fmla="*/ 362430 w 495300"/>
              <a:gd name="connsiteY5" fmla="*/ 162546 h 533400"/>
              <a:gd name="connsiteX6" fmla="*/ 257655 w 495300"/>
              <a:gd name="connsiteY6" fmla="*/ 162546 h 533400"/>
              <a:gd name="connsiteX7" fmla="*/ 257655 w 495300"/>
              <a:gd name="connsiteY7" fmla="*/ 295896 h 533400"/>
              <a:gd name="connsiteX8" fmla="*/ 419580 w 495300"/>
              <a:gd name="connsiteY8" fmla="*/ 295896 h 533400"/>
              <a:gd name="connsiteX9" fmla="*/ 457680 w 495300"/>
              <a:gd name="connsiteY9" fmla="*/ 332091 h 533400"/>
              <a:gd name="connsiteX10" fmla="*/ 457680 w 495300"/>
              <a:gd name="connsiteY10" fmla="*/ 333996 h 533400"/>
              <a:gd name="connsiteX11" fmla="*/ 457680 w 495300"/>
              <a:gd name="connsiteY11" fmla="*/ 438771 h 533400"/>
              <a:gd name="connsiteX12" fmla="*/ 467205 w 495300"/>
              <a:gd name="connsiteY12" fmla="*/ 438771 h 533400"/>
              <a:gd name="connsiteX13" fmla="*/ 495780 w 495300"/>
              <a:gd name="connsiteY13" fmla="*/ 465441 h 533400"/>
              <a:gd name="connsiteX14" fmla="*/ 495780 w 495300"/>
              <a:gd name="connsiteY14" fmla="*/ 467346 h 533400"/>
              <a:gd name="connsiteX15" fmla="*/ 495780 w 495300"/>
              <a:gd name="connsiteY15" fmla="*/ 505446 h 533400"/>
              <a:gd name="connsiteX16" fmla="*/ 467205 w 495300"/>
              <a:gd name="connsiteY16" fmla="*/ 534021 h 533400"/>
              <a:gd name="connsiteX17" fmla="*/ 467205 w 495300"/>
              <a:gd name="connsiteY17" fmla="*/ 534021 h 533400"/>
              <a:gd name="connsiteX18" fmla="*/ 429105 w 495300"/>
              <a:gd name="connsiteY18" fmla="*/ 534021 h 533400"/>
              <a:gd name="connsiteX19" fmla="*/ 400530 w 495300"/>
              <a:gd name="connsiteY19" fmla="*/ 505446 h 533400"/>
              <a:gd name="connsiteX20" fmla="*/ 400530 w 495300"/>
              <a:gd name="connsiteY20" fmla="*/ 505446 h 533400"/>
              <a:gd name="connsiteX21" fmla="*/ 400530 w 495300"/>
              <a:gd name="connsiteY21" fmla="*/ 467346 h 533400"/>
              <a:gd name="connsiteX22" fmla="*/ 429105 w 495300"/>
              <a:gd name="connsiteY22" fmla="*/ 438771 h 533400"/>
              <a:gd name="connsiteX23" fmla="*/ 429105 w 495300"/>
              <a:gd name="connsiteY23" fmla="*/ 438771 h 533400"/>
              <a:gd name="connsiteX24" fmla="*/ 438630 w 495300"/>
              <a:gd name="connsiteY24" fmla="*/ 438771 h 533400"/>
              <a:gd name="connsiteX25" fmla="*/ 438630 w 495300"/>
              <a:gd name="connsiteY25" fmla="*/ 333996 h 533400"/>
              <a:gd name="connsiteX26" fmla="*/ 420533 w 495300"/>
              <a:gd name="connsiteY26" fmla="*/ 314946 h 533400"/>
              <a:gd name="connsiteX27" fmla="*/ 419580 w 495300"/>
              <a:gd name="connsiteY27" fmla="*/ 314946 h 533400"/>
              <a:gd name="connsiteX28" fmla="*/ 257655 w 495300"/>
              <a:gd name="connsiteY28" fmla="*/ 314946 h 533400"/>
              <a:gd name="connsiteX29" fmla="*/ 257655 w 495300"/>
              <a:gd name="connsiteY29" fmla="*/ 438771 h 533400"/>
              <a:gd name="connsiteX30" fmla="*/ 267180 w 495300"/>
              <a:gd name="connsiteY30" fmla="*/ 438771 h 533400"/>
              <a:gd name="connsiteX31" fmla="*/ 295755 w 495300"/>
              <a:gd name="connsiteY31" fmla="*/ 465441 h 533400"/>
              <a:gd name="connsiteX32" fmla="*/ 295755 w 495300"/>
              <a:gd name="connsiteY32" fmla="*/ 467346 h 533400"/>
              <a:gd name="connsiteX33" fmla="*/ 295755 w 495300"/>
              <a:gd name="connsiteY33" fmla="*/ 505446 h 533400"/>
              <a:gd name="connsiteX34" fmla="*/ 267180 w 495300"/>
              <a:gd name="connsiteY34" fmla="*/ 534021 h 533400"/>
              <a:gd name="connsiteX35" fmla="*/ 267180 w 495300"/>
              <a:gd name="connsiteY35" fmla="*/ 534021 h 533400"/>
              <a:gd name="connsiteX36" fmla="*/ 229080 w 495300"/>
              <a:gd name="connsiteY36" fmla="*/ 534021 h 533400"/>
              <a:gd name="connsiteX37" fmla="*/ 200505 w 495300"/>
              <a:gd name="connsiteY37" fmla="*/ 505446 h 533400"/>
              <a:gd name="connsiteX38" fmla="*/ 200505 w 495300"/>
              <a:gd name="connsiteY38" fmla="*/ 505446 h 533400"/>
              <a:gd name="connsiteX39" fmla="*/ 200505 w 495300"/>
              <a:gd name="connsiteY39" fmla="*/ 467346 h 533400"/>
              <a:gd name="connsiteX40" fmla="*/ 229080 w 495300"/>
              <a:gd name="connsiteY40" fmla="*/ 438771 h 533400"/>
              <a:gd name="connsiteX41" fmla="*/ 229080 w 495300"/>
              <a:gd name="connsiteY41" fmla="*/ 438771 h 533400"/>
              <a:gd name="connsiteX42" fmla="*/ 238605 w 495300"/>
              <a:gd name="connsiteY42" fmla="*/ 438771 h 533400"/>
              <a:gd name="connsiteX43" fmla="*/ 238605 w 495300"/>
              <a:gd name="connsiteY43" fmla="*/ 314946 h 533400"/>
              <a:gd name="connsiteX44" fmla="*/ 76680 w 495300"/>
              <a:gd name="connsiteY44" fmla="*/ 314946 h 533400"/>
              <a:gd name="connsiteX45" fmla="*/ 57630 w 495300"/>
              <a:gd name="connsiteY45" fmla="*/ 333044 h 533400"/>
              <a:gd name="connsiteX46" fmla="*/ 57630 w 495300"/>
              <a:gd name="connsiteY46" fmla="*/ 333996 h 533400"/>
              <a:gd name="connsiteX47" fmla="*/ 57630 w 495300"/>
              <a:gd name="connsiteY47" fmla="*/ 438771 h 533400"/>
              <a:gd name="connsiteX48" fmla="*/ 67155 w 495300"/>
              <a:gd name="connsiteY48" fmla="*/ 438771 h 533400"/>
              <a:gd name="connsiteX49" fmla="*/ 95730 w 495300"/>
              <a:gd name="connsiteY49" fmla="*/ 465441 h 533400"/>
              <a:gd name="connsiteX50" fmla="*/ 95730 w 495300"/>
              <a:gd name="connsiteY50" fmla="*/ 467346 h 533400"/>
              <a:gd name="connsiteX51" fmla="*/ 95730 w 495300"/>
              <a:gd name="connsiteY51" fmla="*/ 505446 h 533400"/>
              <a:gd name="connsiteX52" fmla="*/ 67155 w 495300"/>
              <a:gd name="connsiteY52" fmla="*/ 534021 h 533400"/>
              <a:gd name="connsiteX53" fmla="*/ 67155 w 495300"/>
              <a:gd name="connsiteY53" fmla="*/ 534021 h 533400"/>
              <a:gd name="connsiteX54" fmla="*/ 29055 w 495300"/>
              <a:gd name="connsiteY54" fmla="*/ 534021 h 533400"/>
              <a:gd name="connsiteX55" fmla="*/ 480 w 495300"/>
              <a:gd name="connsiteY55" fmla="*/ 505446 h 533400"/>
              <a:gd name="connsiteX56" fmla="*/ 480 w 495300"/>
              <a:gd name="connsiteY56" fmla="*/ 505446 h 533400"/>
              <a:gd name="connsiteX57" fmla="*/ 480 w 495300"/>
              <a:gd name="connsiteY57" fmla="*/ 467346 h 533400"/>
              <a:gd name="connsiteX58" fmla="*/ 29055 w 495300"/>
              <a:gd name="connsiteY58" fmla="*/ 438771 h 533400"/>
              <a:gd name="connsiteX59" fmla="*/ 29055 w 495300"/>
              <a:gd name="connsiteY59" fmla="*/ 438771 h 533400"/>
              <a:gd name="connsiteX60" fmla="*/ 38580 w 495300"/>
              <a:gd name="connsiteY60" fmla="*/ 438771 h 533400"/>
              <a:gd name="connsiteX61" fmla="*/ 38580 w 495300"/>
              <a:gd name="connsiteY61" fmla="*/ 333996 h 533400"/>
              <a:gd name="connsiteX62" fmla="*/ 74775 w 495300"/>
              <a:gd name="connsiteY62" fmla="*/ 295896 h 533400"/>
              <a:gd name="connsiteX63" fmla="*/ 76680 w 495300"/>
              <a:gd name="connsiteY63" fmla="*/ 295896 h 533400"/>
              <a:gd name="connsiteX64" fmla="*/ 238605 w 495300"/>
              <a:gd name="connsiteY64" fmla="*/ 295896 h 533400"/>
              <a:gd name="connsiteX65" fmla="*/ 238605 w 495300"/>
              <a:gd name="connsiteY65" fmla="*/ 162546 h 533400"/>
              <a:gd name="connsiteX66" fmla="*/ 133830 w 495300"/>
              <a:gd name="connsiteY66" fmla="*/ 162546 h 533400"/>
              <a:gd name="connsiteX67" fmla="*/ 95730 w 495300"/>
              <a:gd name="connsiteY67" fmla="*/ 126351 h 533400"/>
              <a:gd name="connsiteX68" fmla="*/ 95730 w 495300"/>
              <a:gd name="connsiteY68" fmla="*/ 124446 h 533400"/>
              <a:gd name="connsiteX69" fmla="*/ 95730 w 495300"/>
              <a:gd name="connsiteY69" fmla="*/ 38721 h 533400"/>
              <a:gd name="connsiteX70" fmla="*/ 133830 w 495300"/>
              <a:gd name="connsiteY70" fmla="*/ 621 h 533400"/>
              <a:gd name="connsiteX71" fmla="*/ 133830 w 495300"/>
              <a:gd name="connsiteY71" fmla="*/ 621 h 533400"/>
              <a:gd name="connsiteX72" fmla="*/ 362430 w 495300"/>
              <a:gd name="connsiteY72" fmla="*/ 621 h 533400"/>
              <a:gd name="connsiteX73" fmla="*/ 67155 w 495300"/>
              <a:gd name="connsiteY73" fmla="*/ 457821 h 533400"/>
              <a:gd name="connsiteX74" fmla="*/ 29055 w 495300"/>
              <a:gd name="connsiteY74" fmla="*/ 457821 h 533400"/>
              <a:gd name="connsiteX75" fmla="*/ 19530 w 495300"/>
              <a:gd name="connsiteY75" fmla="*/ 467346 h 533400"/>
              <a:gd name="connsiteX76" fmla="*/ 19530 w 495300"/>
              <a:gd name="connsiteY76" fmla="*/ 467346 h 533400"/>
              <a:gd name="connsiteX77" fmla="*/ 19530 w 495300"/>
              <a:gd name="connsiteY77" fmla="*/ 505446 h 533400"/>
              <a:gd name="connsiteX78" fmla="*/ 29055 w 495300"/>
              <a:gd name="connsiteY78" fmla="*/ 514971 h 533400"/>
              <a:gd name="connsiteX79" fmla="*/ 29055 w 495300"/>
              <a:gd name="connsiteY79" fmla="*/ 514971 h 533400"/>
              <a:gd name="connsiteX80" fmla="*/ 67155 w 495300"/>
              <a:gd name="connsiteY80" fmla="*/ 514971 h 533400"/>
              <a:gd name="connsiteX81" fmla="*/ 76680 w 495300"/>
              <a:gd name="connsiteY81" fmla="*/ 505446 h 533400"/>
              <a:gd name="connsiteX82" fmla="*/ 76680 w 495300"/>
              <a:gd name="connsiteY82" fmla="*/ 505446 h 533400"/>
              <a:gd name="connsiteX83" fmla="*/ 76680 w 495300"/>
              <a:gd name="connsiteY83" fmla="*/ 467346 h 533400"/>
              <a:gd name="connsiteX84" fmla="*/ 67155 w 495300"/>
              <a:gd name="connsiteY84" fmla="*/ 457821 h 533400"/>
              <a:gd name="connsiteX85" fmla="*/ 67155 w 495300"/>
              <a:gd name="connsiteY85" fmla="*/ 457821 h 533400"/>
              <a:gd name="connsiteX86" fmla="*/ 267180 w 495300"/>
              <a:gd name="connsiteY86" fmla="*/ 457821 h 533400"/>
              <a:gd name="connsiteX87" fmla="*/ 229080 w 495300"/>
              <a:gd name="connsiteY87" fmla="*/ 457821 h 533400"/>
              <a:gd name="connsiteX88" fmla="*/ 219555 w 495300"/>
              <a:gd name="connsiteY88" fmla="*/ 467346 h 533400"/>
              <a:gd name="connsiteX89" fmla="*/ 219555 w 495300"/>
              <a:gd name="connsiteY89" fmla="*/ 467346 h 533400"/>
              <a:gd name="connsiteX90" fmla="*/ 219555 w 495300"/>
              <a:gd name="connsiteY90" fmla="*/ 505446 h 533400"/>
              <a:gd name="connsiteX91" fmla="*/ 229080 w 495300"/>
              <a:gd name="connsiteY91" fmla="*/ 514971 h 533400"/>
              <a:gd name="connsiteX92" fmla="*/ 229080 w 495300"/>
              <a:gd name="connsiteY92" fmla="*/ 514971 h 533400"/>
              <a:gd name="connsiteX93" fmla="*/ 267180 w 495300"/>
              <a:gd name="connsiteY93" fmla="*/ 514971 h 533400"/>
              <a:gd name="connsiteX94" fmla="*/ 276705 w 495300"/>
              <a:gd name="connsiteY94" fmla="*/ 505446 h 533400"/>
              <a:gd name="connsiteX95" fmla="*/ 276705 w 495300"/>
              <a:gd name="connsiteY95" fmla="*/ 505446 h 533400"/>
              <a:gd name="connsiteX96" fmla="*/ 276705 w 495300"/>
              <a:gd name="connsiteY96" fmla="*/ 467346 h 533400"/>
              <a:gd name="connsiteX97" fmla="*/ 267180 w 495300"/>
              <a:gd name="connsiteY97" fmla="*/ 457821 h 533400"/>
              <a:gd name="connsiteX98" fmla="*/ 267180 w 495300"/>
              <a:gd name="connsiteY98" fmla="*/ 457821 h 533400"/>
              <a:gd name="connsiteX99" fmla="*/ 467205 w 495300"/>
              <a:gd name="connsiteY99" fmla="*/ 457821 h 533400"/>
              <a:gd name="connsiteX100" fmla="*/ 429105 w 495300"/>
              <a:gd name="connsiteY100" fmla="*/ 457821 h 533400"/>
              <a:gd name="connsiteX101" fmla="*/ 419580 w 495300"/>
              <a:gd name="connsiteY101" fmla="*/ 467346 h 533400"/>
              <a:gd name="connsiteX102" fmla="*/ 419580 w 495300"/>
              <a:gd name="connsiteY102" fmla="*/ 467346 h 533400"/>
              <a:gd name="connsiteX103" fmla="*/ 419580 w 495300"/>
              <a:gd name="connsiteY103" fmla="*/ 505446 h 533400"/>
              <a:gd name="connsiteX104" fmla="*/ 429105 w 495300"/>
              <a:gd name="connsiteY104" fmla="*/ 514971 h 533400"/>
              <a:gd name="connsiteX105" fmla="*/ 429105 w 495300"/>
              <a:gd name="connsiteY105" fmla="*/ 514971 h 533400"/>
              <a:gd name="connsiteX106" fmla="*/ 467205 w 495300"/>
              <a:gd name="connsiteY106" fmla="*/ 514971 h 533400"/>
              <a:gd name="connsiteX107" fmla="*/ 476730 w 495300"/>
              <a:gd name="connsiteY107" fmla="*/ 505446 h 533400"/>
              <a:gd name="connsiteX108" fmla="*/ 476730 w 495300"/>
              <a:gd name="connsiteY108" fmla="*/ 505446 h 533400"/>
              <a:gd name="connsiteX109" fmla="*/ 476730 w 495300"/>
              <a:gd name="connsiteY109" fmla="*/ 467346 h 533400"/>
              <a:gd name="connsiteX110" fmla="*/ 467205 w 495300"/>
              <a:gd name="connsiteY110" fmla="*/ 457821 h 533400"/>
              <a:gd name="connsiteX111" fmla="*/ 467205 w 495300"/>
              <a:gd name="connsiteY111" fmla="*/ 457821 h 533400"/>
              <a:gd name="connsiteX112" fmla="*/ 362430 w 495300"/>
              <a:gd name="connsiteY112" fmla="*/ 19671 h 533400"/>
              <a:gd name="connsiteX113" fmla="*/ 133830 w 495300"/>
              <a:gd name="connsiteY113" fmla="*/ 19671 h 533400"/>
              <a:gd name="connsiteX114" fmla="*/ 114780 w 495300"/>
              <a:gd name="connsiteY114" fmla="*/ 38721 h 533400"/>
              <a:gd name="connsiteX115" fmla="*/ 114780 w 495300"/>
              <a:gd name="connsiteY115" fmla="*/ 38721 h 533400"/>
              <a:gd name="connsiteX116" fmla="*/ 114780 w 495300"/>
              <a:gd name="connsiteY116" fmla="*/ 124446 h 533400"/>
              <a:gd name="connsiteX117" fmla="*/ 133830 w 495300"/>
              <a:gd name="connsiteY117" fmla="*/ 143496 h 533400"/>
              <a:gd name="connsiteX118" fmla="*/ 133830 w 495300"/>
              <a:gd name="connsiteY118" fmla="*/ 143496 h 533400"/>
              <a:gd name="connsiteX119" fmla="*/ 362430 w 495300"/>
              <a:gd name="connsiteY119" fmla="*/ 143496 h 533400"/>
              <a:gd name="connsiteX120" fmla="*/ 381480 w 495300"/>
              <a:gd name="connsiteY120" fmla="*/ 124446 h 533400"/>
              <a:gd name="connsiteX121" fmla="*/ 381480 w 495300"/>
              <a:gd name="connsiteY121" fmla="*/ 124446 h 533400"/>
              <a:gd name="connsiteX122" fmla="*/ 381480 w 495300"/>
              <a:gd name="connsiteY122" fmla="*/ 38721 h 533400"/>
              <a:gd name="connsiteX123" fmla="*/ 362430 w 495300"/>
              <a:gd name="connsiteY123" fmla="*/ 19671 h 533400"/>
              <a:gd name="connsiteX124" fmla="*/ 362430 w 495300"/>
              <a:gd name="connsiteY124" fmla="*/ 19671 h 533400"/>
              <a:gd name="connsiteX125" fmla="*/ 157643 w 495300"/>
              <a:gd name="connsiteY125" fmla="*/ 86346 h 533400"/>
              <a:gd name="connsiteX126" fmla="*/ 171930 w 495300"/>
              <a:gd name="connsiteY126" fmla="*/ 100634 h 533400"/>
              <a:gd name="connsiteX127" fmla="*/ 157643 w 495300"/>
              <a:gd name="connsiteY127" fmla="*/ 114921 h 533400"/>
              <a:gd name="connsiteX128" fmla="*/ 143355 w 495300"/>
              <a:gd name="connsiteY128" fmla="*/ 100634 h 533400"/>
              <a:gd name="connsiteX129" fmla="*/ 157643 w 495300"/>
              <a:gd name="connsiteY129" fmla="*/ 86346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495300" h="533400">
                <a:moveTo>
                  <a:pt x="362430" y="621"/>
                </a:moveTo>
                <a:cubicBezTo>
                  <a:pt x="383385" y="621"/>
                  <a:pt x="400530" y="17766"/>
                  <a:pt x="400530" y="38721"/>
                </a:cubicBezTo>
                <a:lnTo>
                  <a:pt x="400530" y="38721"/>
                </a:lnTo>
                <a:lnTo>
                  <a:pt x="400530" y="124446"/>
                </a:lnTo>
                <a:cubicBezTo>
                  <a:pt x="400530" y="145401"/>
                  <a:pt x="383385" y="162546"/>
                  <a:pt x="362430" y="162546"/>
                </a:cubicBezTo>
                <a:lnTo>
                  <a:pt x="362430" y="162546"/>
                </a:lnTo>
                <a:lnTo>
                  <a:pt x="257655" y="162546"/>
                </a:lnTo>
                <a:lnTo>
                  <a:pt x="257655" y="295896"/>
                </a:lnTo>
                <a:lnTo>
                  <a:pt x="419580" y="295896"/>
                </a:lnTo>
                <a:cubicBezTo>
                  <a:pt x="439583" y="295896"/>
                  <a:pt x="456727" y="312089"/>
                  <a:pt x="457680" y="332091"/>
                </a:cubicBezTo>
                <a:lnTo>
                  <a:pt x="457680" y="333996"/>
                </a:lnTo>
                <a:lnTo>
                  <a:pt x="457680" y="438771"/>
                </a:lnTo>
                <a:lnTo>
                  <a:pt x="467205" y="438771"/>
                </a:lnTo>
                <a:cubicBezTo>
                  <a:pt x="482445" y="438771"/>
                  <a:pt x="494827" y="450201"/>
                  <a:pt x="495780" y="465441"/>
                </a:cubicBezTo>
                <a:lnTo>
                  <a:pt x="495780" y="467346"/>
                </a:lnTo>
                <a:lnTo>
                  <a:pt x="495780" y="505446"/>
                </a:lnTo>
                <a:cubicBezTo>
                  <a:pt x="495780" y="521639"/>
                  <a:pt x="483398" y="534021"/>
                  <a:pt x="467205" y="534021"/>
                </a:cubicBezTo>
                <a:lnTo>
                  <a:pt x="467205" y="534021"/>
                </a:lnTo>
                <a:lnTo>
                  <a:pt x="429105" y="534021"/>
                </a:lnTo>
                <a:cubicBezTo>
                  <a:pt x="412912" y="534021"/>
                  <a:pt x="400530" y="521639"/>
                  <a:pt x="400530" y="505446"/>
                </a:cubicBezTo>
                <a:lnTo>
                  <a:pt x="400530" y="505446"/>
                </a:lnTo>
                <a:lnTo>
                  <a:pt x="400530" y="467346"/>
                </a:lnTo>
                <a:cubicBezTo>
                  <a:pt x="400530" y="451153"/>
                  <a:pt x="412912" y="438771"/>
                  <a:pt x="429105" y="438771"/>
                </a:cubicBezTo>
                <a:lnTo>
                  <a:pt x="429105" y="438771"/>
                </a:lnTo>
                <a:lnTo>
                  <a:pt x="438630" y="438771"/>
                </a:lnTo>
                <a:lnTo>
                  <a:pt x="438630" y="333996"/>
                </a:lnTo>
                <a:cubicBezTo>
                  <a:pt x="438630" y="323519"/>
                  <a:pt x="431010" y="315898"/>
                  <a:pt x="420533" y="314946"/>
                </a:cubicBezTo>
                <a:lnTo>
                  <a:pt x="419580" y="314946"/>
                </a:lnTo>
                <a:lnTo>
                  <a:pt x="257655" y="314946"/>
                </a:lnTo>
                <a:lnTo>
                  <a:pt x="257655" y="438771"/>
                </a:lnTo>
                <a:lnTo>
                  <a:pt x="267180" y="438771"/>
                </a:lnTo>
                <a:cubicBezTo>
                  <a:pt x="282420" y="438771"/>
                  <a:pt x="294802" y="450201"/>
                  <a:pt x="295755" y="465441"/>
                </a:cubicBezTo>
                <a:lnTo>
                  <a:pt x="295755" y="467346"/>
                </a:lnTo>
                <a:lnTo>
                  <a:pt x="295755" y="505446"/>
                </a:lnTo>
                <a:cubicBezTo>
                  <a:pt x="295755" y="521639"/>
                  <a:pt x="283373" y="534021"/>
                  <a:pt x="267180" y="534021"/>
                </a:cubicBezTo>
                <a:lnTo>
                  <a:pt x="267180" y="534021"/>
                </a:lnTo>
                <a:lnTo>
                  <a:pt x="229080" y="534021"/>
                </a:lnTo>
                <a:cubicBezTo>
                  <a:pt x="212887" y="534021"/>
                  <a:pt x="200505" y="521639"/>
                  <a:pt x="200505" y="505446"/>
                </a:cubicBezTo>
                <a:lnTo>
                  <a:pt x="200505" y="505446"/>
                </a:lnTo>
                <a:lnTo>
                  <a:pt x="200505" y="467346"/>
                </a:lnTo>
                <a:cubicBezTo>
                  <a:pt x="200505" y="451153"/>
                  <a:pt x="212887" y="438771"/>
                  <a:pt x="229080" y="438771"/>
                </a:cubicBezTo>
                <a:lnTo>
                  <a:pt x="229080" y="438771"/>
                </a:lnTo>
                <a:lnTo>
                  <a:pt x="238605" y="438771"/>
                </a:lnTo>
                <a:lnTo>
                  <a:pt x="238605" y="314946"/>
                </a:lnTo>
                <a:lnTo>
                  <a:pt x="76680" y="314946"/>
                </a:lnTo>
                <a:cubicBezTo>
                  <a:pt x="66202" y="314946"/>
                  <a:pt x="58583" y="322566"/>
                  <a:pt x="57630" y="333044"/>
                </a:cubicBezTo>
                <a:lnTo>
                  <a:pt x="57630" y="333996"/>
                </a:lnTo>
                <a:lnTo>
                  <a:pt x="57630" y="438771"/>
                </a:lnTo>
                <a:lnTo>
                  <a:pt x="67155" y="438771"/>
                </a:lnTo>
                <a:cubicBezTo>
                  <a:pt x="82395" y="438771"/>
                  <a:pt x="94777" y="450201"/>
                  <a:pt x="95730" y="465441"/>
                </a:cubicBezTo>
                <a:lnTo>
                  <a:pt x="95730" y="467346"/>
                </a:lnTo>
                <a:lnTo>
                  <a:pt x="95730" y="505446"/>
                </a:lnTo>
                <a:cubicBezTo>
                  <a:pt x="95730" y="521639"/>
                  <a:pt x="83348" y="534021"/>
                  <a:pt x="67155" y="534021"/>
                </a:cubicBezTo>
                <a:lnTo>
                  <a:pt x="67155" y="534021"/>
                </a:lnTo>
                <a:lnTo>
                  <a:pt x="29055" y="534021"/>
                </a:lnTo>
                <a:cubicBezTo>
                  <a:pt x="12862" y="534021"/>
                  <a:pt x="480" y="521639"/>
                  <a:pt x="480" y="505446"/>
                </a:cubicBezTo>
                <a:lnTo>
                  <a:pt x="480" y="505446"/>
                </a:lnTo>
                <a:lnTo>
                  <a:pt x="480" y="467346"/>
                </a:lnTo>
                <a:cubicBezTo>
                  <a:pt x="480" y="451153"/>
                  <a:pt x="12862" y="438771"/>
                  <a:pt x="29055" y="438771"/>
                </a:cubicBezTo>
                <a:lnTo>
                  <a:pt x="29055" y="438771"/>
                </a:lnTo>
                <a:lnTo>
                  <a:pt x="38580" y="438771"/>
                </a:lnTo>
                <a:lnTo>
                  <a:pt x="38580" y="333996"/>
                </a:lnTo>
                <a:cubicBezTo>
                  <a:pt x="38580" y="313994"/>
                  <a:pt x="54773" y="296848"/>
                  <a:pt x="74775" y="295896"/>
                </a:cubicBezTo>
                <a:lnTo>
                  <a:pt x="76680" y="295896"/>
                </a:lnTo>
                <a:lnTo>
                  <a:pt x="238605" y="295896"/>
                </a:lnTo>
                <a:lnTo>
                  <a:pt x="238605" y="162546"/>
                </a:lnTo>
                <a:lnTo>
                  <a:pt x="133830" y="162546"/>
                </a:lnTo>
                <a:cubicBezTo>
                  <a:pt x="113827" y="162546"/>
                  <a:pt x="96683" y="146353"/>
                  <a:pt x="95730" y="126351"/>
                </a:cubicBezTo>
                <a:lnTo>
                  <a:pt x="95730" y="124446"/>
                </a:lnTo>
                <a:lnTo>
                  <a:pt x="95730" y="38721"/>
                </a:lnTo>
                <a:cubicBezTo>
                  <a:pt x="95730" y="17766"/>
                  <a:pt x="112875" y="621"/>
                  <a:pt x="133830" y="621"/>
                </a:cubicBezTo>
                <a:lnTo>
                  <a:pt x="133830" y="621"/>
                </a:lnTo>
                <a:lnTo>
                  <a:pt x="362430" y="621"/>
                </a:lnTo>
                <a:close/>
                <a:moveTo>
                  <a:pt x="67155" y="457821"/>
                </a:moveTo>
                <a:lnTo>
                  <a:pt x="29055" y="457821"/>
                </a:lnTo>
                <a:cubicBezTo>
                  <a:pt x="23340" y="457821"/>
                  <a:pt x="19530" y="461631"/>
                  <a:pt x="19530" y="467346"/>
                </a:cubicBezTo>
                <a:lnTo>
                  <a:pt x="19530" y="467346"/>
                </a:lnTo>
                <a:lnTo>
                  <a:pt x="19530" y="505446"/>
                </a:lnTo>
                <a:cubicBezTo>
                  <a:pt x="19530" y="511161"/>
                  <a:pt x="23340" y="514971"/>
                  <a:pt x="29055" y="514971"/>
                </a:cubicBezTo>
                <a:lnTo>
                  <a:pt x="29055" y="514971"/>
                </a:lnTo>
                <a:lnTo>
                  <a:pt x="67155" y="514971"/>
                </a:lnTo>
                <a:cubicBezTo>
                  <a:pt x="72870" y="514971"/>
                  <a:pt x="76680" y="511161"/>
                  <a:pt x="76680" y="505446"/>
                </a:cubicBezTo>
                <a:lnTo>
                  <a:pt x="76680" y="505446"/>
                </a:lnTo>
                <a:lnTo>
                  <a:pt x="76680" y="467346"/>
                </a:lnTo>
                <a:cubicBezTo>
                  <a:pt x="76680" y="461631"/>
                  <a:pt x="72870" y="457821"/>
                  <a:pt x="67155" y="457821"/>
                </a:cubicBezTo>
                <a:lnTo>
                  <a:pt x="67155" y="457821"/>
                </a:lnTo>
                <a:close/>
                <a:moveTo>
                  <a:pt x="267180" y="457821"/>
                </a:moveTo>
                <a:lnTo>
                  <a:pt x="229080" y="457821"/>
                </a:lnTo>
                <a:cubicBezTo>
                  <a:pt x="223365" y="457821"/>
                  <a:pt x="219555" y="461631"/>
                  <a:pt x="219555" y="467346"/>
                </a:cubicBezTo>
                <a:lnTo>
                  <a:pt x="219555" y="467346"/>
                </a:lnTo>
                <a:lnTo>
                  <a:pt x="219555" y="505446"/>
                </a:lnTo>
                <a:cubicBezTo>
                  <a:pt x="219555" y="511161"/>
                  <a:pt x="223365" y="514971"/>
                  <a:pt x="229080" y="514971"/>
                </a:cubicBezTo>
                <a:lnTo>
                  <a:pt x="229080" y="514971"/>
                </a:lnTo>
                <a:lnTo>
                  <a:pt x="267180" y="514971"/>
                </a:lnTo>
                <a:cubicBezTo>
                  <a:pt x="272895" y="514971"/>
                  <a:pt x="276705" y="511161"/>
                  <a:pt x="276705" y="505446"/>
                </a:cubicBezTo>
                <a:lnTo>
                  <a:pt x="276705" y="505446"/>
                </a:lnTo>
                <a:lnTo>
                  <a:pt x="276705" y="467346"/>
                </a:lnTo>
                <a:cubicBezTo>
                  <a:pt x="276705" y="461631"/>
                  <a:pt x="272895" y="457821"/>
                  <a:pt x="267180" y="457821"/>
                </a:cubicBezTo>
                <a:lnTo>
                  <a:pt x="267180" y="457821"/>
                </a:lnTo>
                <a:close/>
                <a:moveTo>
                  <a:pt x="467205" y="457821"/>
                </a:moveTo>
                <a:lnTo>
                  <a:pt x="429105" y="457821"/>
                </a:lnTo>
                <a:cubicBezTo>
                  <a:pt x="423390" y="457821"/>
                  <a:pt x="419580" y="461631"/>
                  <a:pt x="419580" y="467346"/>
                </a:cubicBezTo>
                <a:lnTo>
                  <a:pt x="419580" y="467346"/>
                </a:lnTo>
                <a:lnTo>
                  <a:pt x="419580" y="505446"/>
                </a:lnTo>
                <a:cubicBezTo>
                  <a:pt x="419580" y="511161"/>
                  <a:pt x="423390" y="514971"/>
                  <a:pt x="429105" y="514971"/>
                </a:cubicBezTo>
                <a:lnTo>
                  <a:pt x="429105" y="514971"/>
                </a:lnTo>
                <a:lnTo>
                  <a:pt x="467205" y="514971"/>
                </a:lnTo>
                <a:cubicBezTo>
                  <a:pt x="472920" y="514971"/>
                  <a:pt x="476730" y="511161"/>
                  <a:pt x="476730" y="505446"/>
                </a:cubicBezTo>
                <a:lnTo>
                  <a:pt x="476730" y="505446"/>
                </a:lnTo>
                <a:lnTo>
                  <a:pt x="476730" y="467346"/>
                </a:lnTo>
                <a:cubicBezTo>
                  <a:pt x="476730" y="461631"/>
                  <a:pt x="472920" y="457821"/>
                  <a:pt x="467205" y="457821"/>
                </a:cubicBezTo>
                <a:lnTo>
                  <a:pt x="467205" y="457821"/>
                </a:lnTo>
                <a:close/>
                <a:moveTo>
                  <a:pt x="362430" y="19671"/>
                </a:moveTo>
                <a:lnTo>
                  <a:pt x="133830" y="19671"/>
                </a:lnTo>
                <a:cubicBezTo>
                  <a:pt x="123352" y="19671"/>
                  <a:pt x="114780" y="28244"/>
                  <a:pt x="114780" y="38721"/>
                </a:cubicBezTo>
                <a:lnTo>
                  <a:pt x="114780" y="38721"/>
                </a:lnTo>
                <a:lnTo>
                  <a:pt x="114780" y="124446"/>
                </a:lnTo>
                <a:cubicBezTo>
                  <a:pt x="114780" y="134923"/>
                  <a:pt x="123352" y="143496"/>
                  <a:pt x="133830" y="143496"/>
                </a:cubicBezTo>
                <a:lnTo>
                  <a:pt x="133830" y="143496"/>
                </a:lnTo>
                <a:lnTo>
                  <a:pt x="362430" y="143496"/>
                </a:lnTo>
                <a:cubicBezTo>
                  <a:pt x="372908" y="143496"/>
                  <a:pt x="381480" y="134923"/>
                  <a:pt x="381480" y="124446"/>
                </a:cubicBezTo>
                <a:lnTo>
                  <a:pt x="381480" y="124446"/>
                </a:lnTo>
                <a:lnTo>
                  <a:pt x="381480" y="38721"/>
                </a:lnTo>
                <a:cubicBezTo>
                  <a:pt x="381480" y="28244"/>
                  <a:pt x="372908" y="19671"/>
                  <a:pt x="362430" y="19671"/>
                </a:cubicBezTo>
                <a:lnTo>
                  <a:pt x="362430" y="19671"/>
                </a:lnTo>
                <a:close/>
                <a:moveTo>
                  <a:pt x="157643" y="86346"/>
                </a:moveTo>
                <a:cubicBezTo>
                  <a:pt x="165262" y="86346"/>
                  <a:pt x="171930" y="93014"/>
                  <a:pt x="171930" y="100634"/>
                </a:cubicBezTo>
                <a:cubicBezTo>
                  <a:pt x="171930" y="108253"/>
                  <a:pt x="165262" y="114921"/>
                  <a:pt x="157643" y="114921"/>
                </a:cubicBezTo>
                <a:cubicBezTo>
                  <a:pt x="150023" y="114921"/>
                  <a:pt x="143355" y="108253"/>
                  <a:pt x="143355" y="100634"/>
                </a:cubicBezTo>
                <a:cubicBezTo>
                  <a:pt x="143355" y="93014"/>
                  <a:pt x="150023" y="86346"/>
                  <a:pt x="157643" y="8634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9D547CBB-1AAD-4B3F-B7CB-8AFECA133D8F}"/>
              </a:ext>
            </a:extLst>
          </p:cNvPr>
          <p:cNvSpPr txBox="1"/>
          <p:nvPr/>
        </p:nvSpPr>
        <p:spPr>
          <a:xfrm>
            <a:off x="6490596" y="3588503"/>
            <a:ext cx="1757097" cy="145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 sound</a:t>
            </a:r>
          </a:p>
        </p:txBody>
      </p:sp>
      <p:sp>
        <p:nvSpPr>
          <p:cNvPr id="1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473A898F-5F78-450E-A5C5-4EDFCF49AD29}"/>
              </a:ext>
            </a:extLst>
          </p:cNvPr>
          <p:cNvSpPr txBox="1"/>
          <p:nvPr/>
        </p:nvSpPr>
        <p:spPr>
          <a:xfrm>
            <a:off x="9233796" y="3588503"/>
            <a:ext cx="1757097" cy="145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 sound</a:t>
            </a: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3E84BFF4-BEB5-4F1A-82D0-A684EE6B045B}"/>
              </a:ext>
            </a:extLst>
          </p:cNvPr>
          <p:cNvSpPr/>
          <p:nvPr/>
        </p:nvSpPr>
        <p:spPr>
          <a:xfrm>
            <a:off x="10990893" y="2268960"/>
            <a:ext cx="188572" cy="188572"/>
          </a:xfrm>
          <a:prstGeom prst="ellipse">
            <a:avLst/>
          </a:prstGeom>
          <a:solidFill>
            <a:srgbClr val="FDD64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lang="zh-CN" altLang="en-US" sz="2800" kern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9" name="椭圆 28">
            <a:extLst>
              <a:ext uri="{FF2B5EF4-FFF2-40B4-BE49-F238E27FC236}">
                <a16:creationId xmlns:a16="http://schemas.microsoft.com/office/drawing/2014/main" id="{C323A1FE-D7B4-4CF9-BFED-A57E8E1B12DE}"/>
              </a:ext>
            </a:extLst>
          </p:cNvPr>
          <p:cNvSpPr/>
          <p:nvPr/>
        </p:nvSpPr>
        <p:spPr>
          <a:xfrm>
            <a:off x="9573780" y="1343811"/>
            <a:ext cx="708461" cy="708461"/>
          </a:xfrm>
          <a:prstGeom prst="ellipse">
            <a:avLst/>
          </a:prstGeom>
          <a:solidFill>
            <a:srgbClr val="FDD64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lang="zh-CN" altLang="en-US" sz="2800" kern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2BE6134B-3DE9-4683-A817-E0F304E88DF5}"/>
              </a:ext>
            </a:extLst>
          </p:cNvPr>
          <p:cNvSpPr/>
          <p:nvPr/>
        </p:nvSpPr>
        <p:spPr>
          <a:xfrm>
            <a:off x="10546468" y="1133649"/>
            <a:ext cx="194911" cy="194911"/>
          </a:xfrm>
          <a:prstGeom prst="ellipse">
            <a:avLst/>
          </a:prstGeom>
          <a:solidFill>
            <a:srgbClr val="FDD64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lang="zh-CN" altLang="en-US" sz="2800" kern="0">
              <a:solidFill>
                <a:srgbClr val="FFFFFF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099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A2DCA1-6A7D-46A7-A89B-769FC3023D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A2DCA1-6A7D-46A7-A89B-769FC3023D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490D9201-A41F-47C1-BAEE-CA14EF9A8D54}"/>
              </a:ext>
            </a:extLst>
          </p:cNvPr>
          <p:cNvSpPr/>
          <p:nvPr/>
        </p:nvSpPr>
        <p:spPr>
          <a:xfrm rot="10800000" flipH="1">
            <a:off x="-1" y="-1164"/>
            <a:ext cx="12192000" cy="6859164"/>
          </a:xfrm>
          <a:custGeom>
            <a:avLst/>
            <a:gdLst>
              <a:gd name="connsiteX0" fmla="*/ 6674304 w 12192000"/>
              <a:gd name="connsiteY0" fmla="*/ 0 h 6859164"/>
              <a:gd name="connsiteX1" fmla="*/ 12192000 w 12192000"/>
              <a:gd name="connsiteY1" fmla="*/ 0 h 6859164"/>
              <a:gd name="connsiteX2" fmla="*/ 12192000 w 12192000"/>
              <a:gd name="connsiteY2" fmla="*/ 6859164 h 6859164"/>
              <a:gd name="connsiteX3" fmla="*/ 0 w 12192000"/>
              <a:gd name="connsiteY3" fmla="*/ 6859164 h 6859164"/>
              <a:gd name="connsiteX4" fmla="*/ 0 w 12192000"/>
              <a:gd name="connsiteY4" fmla="*/ 5467195 h 6859164"/>
              <a:gd name="connsiteX5" fmla="*/ 63803 w 12192000"/>
              <a:gd name="connsiteY5" fmla="*/ 5470616 h 6859164"/>
              <a:gd name="connsiteX6" fmla="*/ 1763402 w 12192000"/>
              <a:gd name="connsiteY6" fmla="*/ 5954443 h 6859164"/>
              <a:gd name="connsiteX7" fmla="*/ 3289320 w 12192000"/>
              <a:gd name="connsiteY7" fmla="*/ 4862728 h 6859164"/>
              <a:gd name="connsiteX8" fmla="*/ 4132917 w 12192000"/>
              <a:gd name="connsiteY8" fmla="*/ 2753737 h 6859164"/>
              <a:gd name="connsiteX9" fmla="*/ 6142663 w 12192000"/>
              <a:gd name="connsiteY9" fmla="*/ 1686835 h 6859164"/>
              <a:gd name="connsiteX10" fmla="*/ 6672463 w 12192000"/>
              <a:gd name="connsiteY10" fmla="*/ 3528 h 6859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9164">
                <a:moveTo>
                  <a:pt x="6674304" y="0"/>
                </a:moveTo>
                <a:lnTo>
                  <a:pt x="12192000" y="0"/>
                </a:lnTo>
                <a:lnTo>
                  <a:pt x="12192000" y="6859164"/>
                </a:lnTo>
                <a:lnTo>
                  <a:pt x="0" y="6859164"/>
                </a:lnTo>
                <a:lnTo>
                  <a:pt x="0" y="5467195"/>
                </a:lnTo>
                <a:lnTo>
                  <a:pt x="63803" y="5470616"/>
                </a:lnTo>
                <a:cubicBezTo>
                  <a:pt x="551766" y="5503698"/>
                  <a:pt x="1225816" y="6055758"/>
                  <a:pt x="1763402" y="5954443"/>
                </a:cubicBezTo>
                <a:cubicBezTo>
                  <a:pt x="2300988" y="5853129"/>
                  <a:pt x="2894400" y="5396179"/>
                  <a:pt x="3289320" y="4862728"/>
                </a:cubicBezTo>
                <a:cubicBezTo>
                  <a:pt x="3684240" y="4329278"/>
                  <a:pt x="3657359" y="3283052"/>
                  <a:pt x="4132917" y="2753737"/>
                </a:cubicBezTo>
                <a:cubicBezTo>
                  <a:pt x="4608474" y="2224422"/>
                  <a:pt x="5712594" y="2158258"/>
                  <a:pt x="6142663" y="1686835"/>
                </a:cubicBezTo>
                <a:cubicBezTo>
                  <a:pt x="6545853" y="1244877"/>
                  <a:pt x="6485641" y="423111"/>
                  <a:pt x="6672463" y="3528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cs typeface="+mn-ea"/>
              <a:sym typeface="+mn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685C9F7-9E03-4F1D-BB27-810EC0D6DD6F}"/>
              </a:ext>
            </a:extLst>
          </p:cNvPr>
          <p:cNvSpPr txBox="1"/>
          <p:nvPr/>
        </p:nvSpPr>
        <p:spPr>
          <a:xfrm rot="10800000" flipV="1">
            <a:off x="9286691" y="1"/>
            <a:ext cx="2905309" cy="2124842"/>
          </a:xfrm>
          <a:custGeom>
            <a:avLst/>
            <a:gdLst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54452"/>
              <a:gd name="connsiteX1" fmla="*/ 6674304 w 6674304"/>
              <a:gd name="connsiteY1" fmla="*/ 0 h 5954452"/>
              <a:gd name="connsiteX2" fmla="*/ 6672463 w 6674304"/>
              <a:gd name="connsiteY2" fmla="*/ 3528 h 5954452"/>
              <a:gd name="connsiteX3" fmla="*/ 6142663 w 6674304"/>
              <a:gd name="connsiteY3" fmla="*/ 1686835 h 5954452"/>
              <a:gd name="connsiteX4" fmla="*/ 4132917 w 6674304"/>
              <a:gd name="connsiteY4" fmla="*/ 2753737 h 5954452"/>
              <a:gd name="connsiteX5" fmla="*/ 3289320 w 6674304"/>
              <a:gd name="connsiteY5" fmla="*/ 4862728 h 5954452"/>
              <a:gd name="connsiteX6" fmla="*/ 1763402 w 6674304"/>
              <a:gd name="connsiteY6" fmla="*/ 5954443 h 5954452"/>
              <a:gd name="connsiteX7" fmla="*/ 63803 w 6674304"/>
              <a:gd name="connsiteY7" fmla="*/ 5470616 h 5954452"/>
              <a:gd name="connsiteX8" fmla="*/ 0 w 6674304"/>
              <a:gd name="connsiteY8" fmla="*/ 5467195 h 5954452"/>
              <a:gd name="connsiteX9" fmla="*/ 0 w 6674304"/>
              <a:gd name="connsiteY9" fmla="*/ 0 h 5954452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323857 w 6674304"/>
              <a:gd name="connsiteY5" fmla="*/ 488071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7613"/>
              <a:gd name="connsiteX1" fmla="*/ 6674304 w 6674304"/>
              <a:gd name="connsiteY1" fmla="*/ 0 h 5957613"/>
              <a:gd name="connsiteX2" fmla="*/ 6672463 w 6674304"/>
              <a:gd name="connsiteY2" fmla="*/ 3528 h 5957613"/>
              <a:gd name="connsiteX3" fmla="*/ 6142663 w 6674304"/>
              <a:gd name="connsiteY3" fmla="*/ 1686835 h 5957613"/>
              <a:gd name="connsiteX4" fmla="*/ 4132917 w 6674304"/>
              <a:gd name="connsiteY4" fmla="*/ 2753737 h 5957613"/>
              <a:gd name="connsiteX5" fmla="*/ 3323857 w 6674304"/>
              <a:gd name="connsiteY5" fmla="*/ 4880718 h 5957613"/>
              <a:gd name="connsiteX6" fmla="*/ 1763402 w 6674304"/>
              <a:gd name="connsiteY6" fmla="*/ 5954443 h 5957613"/>
              <a:gd name="connsiteX7" fmla="*/ 63803 w 6674304"/>
              <a:gd name="connsiteY7" fmla="*/ 5470616 h 5957613"/>
              <a:gd name="connsiteX8" fmla="*/ 0 w 6674304"/>
              <a:gd name="connsiteY8" fmla="*/ 5467195 h 5957613"/>
              <a:gd name="connsiteX9" fmla="*/ 0 w 6674304"/>
              <a:gd name="connsiteY9" fmla="*/ 0 h 5957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74304" h="5957613">
                <a:moveTo>
                  <a:pt x="0" y="0"/>
                </a:moveTo>
                <a:lnTo>
                  <a:pt x="6674304" y="0"/>
                </a:lnTo>
                <a:lnTo>
                  <a:pt x="6672463" y="3528"/>
                </a:lnTo>
                <a:cubicBezTo>
                  <a:pt x="6485641" y="423111"/>
                  <a:pt x="6718539" y="1011007"/>
                  <a:pt x="6142663" y="1686835"/>
                </a:cubicBezTo>
                <a:cubicBezTo>
                  <a:pt x="5728792" y="2172540"/>
                  <a:pt x="4602718" y="2221423"/>
                  <a:pt x="4132917" y="2753737"/>
                </a:cubicBezTo>
                <a:cubicBezTo>
                  <a:pt x="3663116" y="3286051"/>
                  <a:pt x="3658337" y="4266313"/>
                  <a:pt x="3323857" y="4880718"/>
                </a:cubicBezTo>
                <a:cubicBezTo>
                  <a:pt x="2989377" y="5495123"/>
                  <a:pt x="2577285" y="5862125"/>
                  <a:pt x="1763402" y="5954443"/>
                </a:cubicBezTo>
                <a:cubicBezTo>
                  <a:pt x="1230133" y="6001788"/>
                  <a:pt x="551766" y="5503698"/>
                  <a:pt x="63803" y="5470616"/>
                </a:cubicBezTo>
                <a:lnTo>
                  <a:pt x="0" y="546719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0" lvl="1" indent="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B59EBAD-BA47-48E6-87DA-18BC9DC1C484}"/>
              </a:ext>
            </a:extLst>
          </p:cNvPr>
          <p:cNvSpPr txBox="1"/>
          <p:nvPr/>
        </p:nvSpPr>
        <p:spPr>
          <a:xfrm>
            <a:off x="533399" y="2111202"/>
            <a:ext cx="2568119" cy="3714449"/>
          </a:xfrm>
          <a:prstGeom prst="roundRect">
            <a:avLst>
              <a:gd name="adj" fmla="val 5178"/>
            </a:avLst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latin typeface="+mn-lt"/>
              <a:cs typeface="+mn-ea"/>
              <a:sym typeface="+mn-lt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BFB921A-BF23-4523-98F3-18D9699DE3DC}"/>
              </a:ext>
            </a:extLst>
          </p:cNvPr>
          <p:cNvSpPr txBox="1"/>
          <p:nvPr/>
        </p:nvSpPr>
        <p:spPr>
          <a:xfrm>
            <a:off x="3385760" y="2111202"/>
            <a:ext cx="2568119" cy="3714449"/>
          </a:xfrm>
          <a:prstGeom prst="roundRect">
            <a:avLst>
              <a:gd name="adj" fmla="val 5178"/>
            </a:avLst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latin typeface="+mn-lt"/>
              <a:cs typeface="+mn-ea"/>
              <a:sym typeface="+mn-l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6776573-36D3-48D2-9FF0-E62D19067DF6}"/>
              </a:ext>
            </a:extLst>
          </p:cNvPr>
          <p:cNvSpPr txBox="1"/>
          <p:nvPr/>
        </p:nvSpPr>
        <p:spPr>
          <a:xfrm>
            <a:off x="6238121" y="2111202"/>
            <a:ext cx="2568119" cy="3714449"/>
          </a:xfrm>
          <a:prstGeom prst="roundRect">
            <a:avLst>
              <a:gd name="adj" fmla="val 5178"/>
            </a:avLst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latin typeface="+mn-lt"/>
              <a:cs typeface="+mn-ea"/>
              <a:sym typeface="+mn-lt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1DD6F6C-5573-48C4-904F-8AAC879BA790}"/>
              </a:ext>
            </a:extLst>
          </p:cNvPr>
          <p:cNvSpPr txBox="1"/>
          <p:nvPr/>
        </p:nvSpPr>
        <p:spPr>
          <a:xfrm>
            <a:off x="9090482" y="2111202"/>
            <a:ext cx="2568119" cy="3714449"/>
          </a:xfrm>
          <a:prstGeom prst="roundRect">
            <a:avLst>
              <a:gd name="adj" fmla="val 5178"/>
            </a:avLst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latin typeface="+mn-lt"/>
              <a:cs typeface="+mn-ea"/>
              <a:sym typeface="+mn-lt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B06B3F6-EEB2-4807-A9C5-4D0474188A29}"/>
              </a:ext>
            </a:extLst>
          </p:cNvPr>
          <p:cNvGrpSpPr/>
          <p:nvPr/>
        </p:nvGrpSpPr>
        <p:grpSpPr>
          <a:xfrm>
            <a:off x="9845251" y="1591150"/>
            <a:ext cx="1058580" cy="1058578"/>
            <a:chOff x="9792887" y="2083485"/>
            <a:chExt cx="826299" cy="826299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0BEB157-E8A4-4ABD-B5B4-12BF937FC427}"/>
                </a:ext>
              </a:extLst>
            </p:cNvPr>
            <p:cNvSpPr txBox="1"/>
            <p:nvPr/>
          </p:nvSpPr>
          <p:spPr>
            <a:xfrm>
              <a:off x="9792887" y="2083485"/>
              <a:ext cx="826299" cy="826299"/>
            </a:xfrm>
            <a:prstGeom prst="arc">
              <a:avLst>
                <a:gd name="adj1" fmla="val 11828543"/>
                <a:gd name="adj2" fmla="val 20559359"/>
              </a:avLst>
            </a:prstGeom>
            <a:noFill/>
            <a:ln w="19050" cap="rnd">
              <a:solidFill>
                <a:srgbClr val="FFC000"/>
              </a:solidFill>
              <a:round/>
            </a:ln>
            <a:effectLst>
              <a:outerShdw blurRad="2540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98EF212-8756-4CD7-85D0-74308A88B398}"/>
                </a:ext>
              </a:extLst>
            </p:cNvPr>
            <p:cNvSpPr txBox="1"/>
            <p:nvPr/>
          </p:nvSpPr>
          <p:spPr>
            <a:xfrm>
              <a:off x="9937687" y="2228285"/>
              <a:ext cx="536700" cy="5367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A4503A7-A8CA-429B-AF1A-DD1C04DD07C9}"/>
              </a:ext>
            </a:extLst>
          </p:cNvPr>
          <p:cNvGrpSpPr/>
          <p:nvPr/>
        </p:nvGrpSpPr>
        <p:grpSpPr>
          <a:xfrm>
            <a:off x="6992890" y="1591150"/>
            <a:ext cx="1058580" cy="1058578"/>
            <a:chOff x="7052862" y="2083485"/>
            <a:chExt cx="826299" cy="826299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F1C0D0A-9F82-4150-8ACF-BC1980394AED}"/>
                </a:ext>
              </a:extLst>
            </p:cNvPr>
            <p:cNvSpPr txBox="1"/>
            <p:nvPr/>
          </p:nvSpPr>
          <p:spPr>
            <a:xfrm>
              <a:off x="7197662" y="2228285"/>
              <a:ext cx="536700" cy="5367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90B8C5C-6AC8-4501-807D-ABBF6D8738E3}"/>
                </a:ext>
              </a:extLst>
            </p:cNvPr>
            <p:cNvSpPr txBox="1"/>
            <p:nvPr/>
          </p:nvSpPr>
          <p:spPr>
            <a:xfrm>
              <a:off x="7052862" y="2083485"/>
              <a:ext cx="826299" cy="826299"/>
            </a:xfrm>
            <a:prstGeom prst="arc">
              <a:avLst>
                <a:gd name="adj1" fmla="val 11828543"/>
                <a:gd name="adj2" fmla="val 20559359"/>
              </a:avLst>
            </a:prstGeom>
            <a:noFill/>
            <a:ln w="19050" cap="rnd">
              <a:solidFill>
                <a:srgbClr val="FFC000"/>
              </a:solidFill>
              <a:round/>
            </a:ln>
            <a:effectLst>
              <a:outerShdw blurRad="2540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584BF0F-7E38-413D-80A6-34C6D0EE20DF}"/>
              </a:ext>
            </a:extLst>
          </p:cNvPr>
          <p:cNvGrpSpPr/>
          <p:nvPr/>
        </p:nvGrpSpPr>
        <p:grpSpPr>
          <a:xfrm>
            <a:off x="4140529" y="1591150"/>
            <a:ext cx="1058580" cy="1058578"/>
            <a:chOff x="4312838" y="2083485"/>
            <a:chExt cx="826299" cy="826299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DBCB389-6EF0-4735-87B7-41B2917FBF8B}"/>
                </a:ext>
              </a:extLst>
            </p:cNvPr>
            <p:cNvSpPr txBox="1"/>
            <p:nvPr/>
          </p:nvSpPr>
          <p:spPr>
            <a:xfrm>
              <a:off x="4457637" y="2228285"/>
              <a:ext cx="536700" cy="5367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251531B2-B1CC-4B13-ACEE-5877A4D9F186}"/>
                </a:ext>
              </a:extLst>
            </p:cNvPr>
            <p:cNvSpPr txBox="1"/>
            <p:nvPr/>
          </p:nvSpPr>
          <p:spPr>
            <a:xfrm>
              <a:off x="4312838" y="2083485"/>
              <a:ext cx="826299" cy="826299"/>
            </a:xfrm>
            <a:prstGeom prst="arc">
              <a:avLst>
                <a:gd name="adj1" fmla="val 11828543"/>
                <a:gd name="adj2" fmla="val 20559359"/>
              </a:avLst>
            </a:prstGeom>
            <a:noFill/>
            <a:ln w="19050" cap="rnd">
              <a:solidFill>
                <a:srgbClr val="FFC000"/>
              </a:solidFill>
              <a:round/>
            </a:ln>
            <a:effectLst>
              <a:outerShdw blurRad="2540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C20EF5E-3029-4231-B2AA-A3B0277C1E88}"/>
              </a:ext>
            </a:extLst>
          </p:cNvPr>
          <p:cNvGrpSpPr/>
          <p:nvPr/>
        </p:nvGrpSpPr>
        <p:grpSpPr>
          <a:xfrm>
            <a:off x="1288168" y="1591150"/>
            <a:ext cx="1058580" cy="1058578"/>
            <a:chOff x="1572814" y="2083485"/>
            <a:chExt cx="826299" cy="82629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B11A24F-CED3-4AE6-B52A-909930A75EAA}"/>
                </a:ext>
              </a:extLst>
            </p:cNvPr>
            <p:cNvSpPr txBox="1"/>
            <p:nvPr/>
          </p:nvSpPr>
          <p:spPr>
            <a:xfrm>
              <a:off x="1717612" y="2228285"/>
              <a:ext cx="536700" cy="5367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9DADEEF-5055-4D48-82C0-0331DC365A71}"/>
                </a:ext>
              </a:extLst>
            </p:cNvPr>
            <p:cNvSpPr txBox="1"/>
            <p:nvPr/>
          </p:nvSpPr>
          <p:spPr>
            <a:xfrm>
              <a:off x="1572814" y="2083485"/>
              <a:ext cx="826299" cy="826299"/>
            </a:xfrm>
            <a:prstGeom prst="arc">
              <a:avLst>
                <a:gd name="adj1" fmla="val 11828543"/>
                <a:gd name="adj2" fmla="val 20559359"/>
              </a:avLst>
            </a:prstGeom>
            <a:noFill/>
            <a:ln w="19050" cap="rnd">
              <a:solidFill>
                <a:srgbClr val="FFC000"/>
              </a:solidFill>
              <a:round/>
            </a:ln>
            <a:effectLst>
              <a:outerShdw blurRad="254000"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05D80458-2E0C-436E-8E1A-B9F0B67BE5ED}"/>
              </a:ext>
            </a:extLst>
          </p:cNvPr>
          <p:cNvSpPr txBox="1"/>
          <p:nvPr/>
        </p:nvSpPr>
        <p:spPr>
          <a:xfrm>
            <a:off x="5654676" y="492718"/>
            <a:ext cx="882648" cy="6608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>
              <a:latin typeface="+mn-lt"/>
              <a:cs typeface="+mn-ea"/>
              <a:sym typeface="+mn-lt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8FC2F117-43D1-48E1-BD80-EA85A18F09BC}"/>
              </a:ext>
            </a:extLst>
          </p:cNvPr>
          <p:cNvGrpSpPr/>
          <p:nvPr/>
        </p:nvGrpSpPr>
        <p:grpSpPr>
          <a:xfrm>
            <a:off x="1627147" y="5528528"/>
            <a:ext cx="380624" cy="65714"/>
            <a:chOff x="1371600" y="6072440"/>
            <a:chExt cx="551695" cy="95250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7E30E66D-951E-4C30-974A-5B4D9E537EDA}"/>
                </a:ext>
              </a:extLst>
            </p:cNvPr>
            <p:cNvSpPr txBox="1"/>
            <p:nvPr/>
          </p:nvSpPr>
          <p:spPr>
            <a:xfrm>
              <a:off x="1371600" y="6072440"/>
              <a:ext cx="95250" cy="952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228600" marR="0" lvl="1" indent="-2286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699DB1D0-4AC6-4A67-89BC-A46B97C03DB1}"/>
                </a:ext>
              </a:extLst>
            </p:cNvPr>
            <p:cNvSpPr txBox="1"/>
            <p:nvPr/>
          </p:nvSpPr>
          <p:spPr>
            <a:xfrm>
              <a:off x="1523748" y="6072440"/>
              <a:ext cx="95250" cy="95250"/>
            </a:xfrm>
            <a:prstGeom prst="ellipse">
              <a:avLst/>
            </a:prstGeom>
            <a:gradFill>
              <a:gsLst>
                <a:gs pos="10000">
                  <a:schemeClr val="bg1">
                    <a:lumMod val="85000"/>
                    <a:alpha val="10000"/>
                  </a:schemeClr>
                </a:gs>
                <a:gs pos="100000">
                  <a:schemeClr val="bg1">
                    <a:lumMod val="95000"/>
                    <a:alpha val="75000"/>
                  </a:scheme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228600" marR="0" lvl="1" indent="-2286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ACC0E2CE-D5A4-4344-8C08-22B07956F84E}"/>
                </a:ext>
              </a:extLst>
            </p:cNvPr>
            <p:cNvSpPr txBox="1"/>
            <p:nvPr/>
          </p:nvSpPr>
          <p:spPr>
            <a:xfrm>
              <a:off x="1675896" y="6072440"/>
              <a:ext cx="95250" cy="95250"/>
            </a:xfrm>
            <a:prstGeom prst="ellipse">
              <a:avLst/>
            </a:prstGeom>
            <a:gradFill>
              <a:gsLst>
                <a:gs pos="10000">
                  <a:schemeClr val="bg1">
                    <a:lumMod val="85000"/>
                    <a:alpha val="10000"/>
                  </a:schemeClr>
                </a:gs>
                <a:gs pos="100000">
                  <a:schemeClr val="bg1">
                    <a:lumMod val="95000"/>
                    <a:alpha val="75000"/>
                  </a:scheme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228600" marR="0" lvl="1" indent="-2286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5883E0D0-EF77-43CF-8A09-0FAE0082EAF9}"/>
                </a:ext>
              </a:extLst>
            </p:cNvPr>
            <p:cNvSpPr txBox="1"/>
            <p:nvPr/>
          </p:nvSpPr>
          <p:spPr>
            <a:xfrm>
              <a:off x="1828045" y="6072440"/>
              <a:ext cx="95250" cy="95250"/>
            </a:xfrm>
            <a:prstGeom prst="ellipse">
              <a:avLst/>
            </a:prstGeom>
            <a:gradFill>
              <a:gsLst>
                <a:gs pos="10000">
                  <a:schemeClr val="bg1">
                    <a:lumMod val="85000"/>
                    <a:alpha val="10000"/>
                  </a:schemeClr>
                </a:gs>
                <a:gs pos="100000">
                  <a:schemeClr val="bg1">
                    <a:lumMod val="95000"/>
                    <a:alpha val="75000"/>
                  </a:scheme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228600" marR="0" lvl="1" indent="-2286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B016B20B-5A14-46B1-B345-4AF1A6178E33}"/>
              </a:ext>
            </a:extLst>
          </p:cNvPr>
          <p:cNvGrpSpPr/>
          <p:nvPr/>
        </p:nvGrpSpPr>
        <p:grpSpPr>
          <a:xfrm>
            <a:off x="4479508" y="5528528"/>
            <a:ext cx="380624" cy="65714"/>
            <a:chOff x="1371600" y="6072440"/>
            <a:chExt cx="551695" cy="95250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7B3ADDD8-433D-45E0-9D89-447C726DFF12}"/>
                </a:ext>
              </a:extLst>
            </p:cNvPr>
            <p:cNvSpPr txBox="1"/>
            <p:nvPr/>
          </p:nvSpPr>
          <p:spPr>
            <a:xfrm>
              <a:off x="1371600" y="6072440"/>
              <a:ext cx="95250" cy="952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228600" marR="0" lvl="1" indent="-2286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C65B4C17-59C7-4683-A71D-702D60873A4A}"/>
                </a:ext>
              </a:extLst>
            </p:cNvPr>
            <p:cNvSpPr txBox="1"/>
            <p:nvPr/>
          </p:nvSpPr>
          <p:spPr>
            <a:xfrm>
              <a:off x="1523748" y="6072440"/>
              <a:ext cx="95250" cy="952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228600" marR="0" lvl="1" indent="-2286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658A3E5-8106-4E04-8961-5D0647B58A28}"/>
                </a:ext>
              </a:extLst>
            </p:cNvPr>
            <p:cNvSpPr txBox="1"/>
            <p:nvPr/>
          </p:nvSpPr>
          <p:spPr>
            <a:xfrm>
              <a:off x="1675896" y="6072440"/>
              <a:ext cx="95250" cy="95250"/>
            </a:xfrm>
            <a:prstGeom prst="ellipse">
              <a:avLst/>
            </a:prstGeom>
            <a:gradFill>
              <a:gsLst>
                <a:gs pos="10000">
                  <a:schemeClr val="bg1">
                    <a:lumMod val="85000"/>
                    <a:alpha val="10000"/>
                  </a:schemeClr>
                </a:gs>
                <a:gs pos="100000">
                  <a:schemeClr val="bg1">
                    <a:lumMod val="95000"/>
                    <a:alpha val="75000"/>
                  </a:scheme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228600" marR="0" lvl="1" indent="-2286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26EDD6A-165A-4B36-91DC-996DE3BC3AEC}"/>
                </a:ext>
              </a:extLst>
            </p:cNvPr>
            <p:cNvSpPr txBox="1"/>
            <p:nvPr/>
          </p:nvSpPr>
          <p:spPr>
            <a:xfrm>
              <a:off x="1828045" y="6072440"/>
              <a:ext cx="95250" cy="95250"/>
            </a:xfrm>
            <a:prstGeom prst="ellipse">
              <a:avLst/>
            </a:prstGeom>
            <a:gradFill>
              <a:gsLst>
                <a:gs pos="10000">
                  <a:schemeClr val="bg1">
                    <a:lumMod val="85000"/>
                    <a:alpha val="10000"/>
                  </a:schemeClr>
                </a:gs>
                <a:gs pos="100000">
                  <a:schemeClr val="bg1">
                    <a:lumMod val="95000"/>
                    <a:alpha val="75000"/>
                  </a:scheme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228600" marR="0" lvl="1" indent="-2286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FC661719-6B0B-4955-8D11-59D534AABA17}"/>
              </a:ext>
            </a:extLst>
          </p:cNvPr>
          <p:cNvGrpSpPr/>
          <p:nvPr/>
        </p:nvGrpSpPr>
        <p:grpSpPr>
          <a:xfrm>
            <a:off x="7331869" y="5528528"/>
            <a:ext cx="380624" cy="65714"/>
            <a:chOff x="1371600" y="6072440"/>
            <a:chExt cx="551695" cy="95250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C66EEDA0-6795-4DDB-A504-4542B2267F93}"/>
                </a:ext>
              </a:extLst>
            </p:cNvPr>
            <p:cNvSpPr txBox="1"/>
            <p:nvPr/>
          </p:nvSpPr>
          <p:spPr>
            <a:xfrm>
              <a:off x="1371600" y="6072440"/>
              <a:ext cx="95250" cy="952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228600" marR="0" lvl="1" indent="-2286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79CB5CD5-E618-4D58-A3FB-5E7F0B150491}"/>
                </a:ext>
              </a:extLst>
            </p:cNvPr>
            <p:cNvSpPr txBox="1"/>
            <p:nvPr/>
          </p:nvSpPr>
          <p:spPr>
            <a:xfrm>
              <a:off x="1523748" y="6072440"/>
              <a:ext cx="95250" cy="952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228600" marR="0" lvl="1" indent="-2286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9B7BDCA-E047-4334-B04E-8CD3BB42536F}"/>
                </a:ext>
              </a:extLst>
            </p:cNvPr>
            <p:cNvSpPr txBox="1"/>
            <p:nvPr/>
          </p:nvSpPr>
          <p:spPr>
            <a:xfrm>
              <a:off x="1675896" y="6072440"/>
              <a:ext cx="95250" cy="952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228600" marR="0" lvl="1" indent="-2286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E0799E48-52F8-45FF-A200-16D605EE7728}"/>
                </a:ext>
              </a:extLst>
            </p:cNvPr>
            <p:cNvSpPr txBox="1"/>
            <p:nvPr/>
          </p:nvSpPr>
          <p:spPr>
            <a:xfrm>
              <a:off x="1828045" y="6072440"/>
              <a:ext cx="95250" cy="95250"/>
            </a:xfrm>
            <a:prstGeom prst="ellipse">
              <a:avLst/>
            </a:prstGeom>
            <a:gradFill>
              <a:gsLst>
                <a:gs pos="10000">
                  <a:schemeClr val="bg1">
                    <a:lumMod val="85000"/>
                    <a:alpha val="10000"/>
                  </a:schemeClr>
                </a:gs>
                <a:gs pos="100000">
                  <a:schemeClr val="bg1">
                    <a:lumMod val="95000"/>
                    <a:alpha val="75000"/>
                  </a:schemeClr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228600" marR="0" lvl="1" indent="-2286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85083CEC-4865-4E69-A227-4F634D2834DD}"/>
              </a:ext>
            </a:extLst>
          </p:cNvPr>
          <p:cNvGrpSpPr/>
          <p:nvPr/>
        </p:nvGrpSpPr>
        <p:grpSpPr>
          <a:xfrm>
            <a:off x="10184230" y="5528528"/>
            <a:ext cx="380624" cy="65714"/>
            <a:chOff x="1371600" y="6072440"/>
            <a:chExt cx="551695" cy="95250"/>
          </a:xfrm>
        </p:grpSpPr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A547978D-1E35-457D-8BFD-AC11D5B42C0B}"/>
                </a:ext>
              </a:extLst>
            </p:cNvPr>
            <p:cNvSpPr txBox="1"/>
            <p:nvPr/>
          </p:nvSpPr>
          <p:spPr>
            <a:xfrm>
              <a:off x="1371600" y="6072440"/>
              <a:ext cx="95250" cy="952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228600" marR="0" lvl="1" indent="-2286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3E77F525-04A6-4B01-A847-74062E9CBBBD}"/>
                </a:ext>
              </a:extLst>
            </p:cNvPr>
            <p:cNvSpPr txBox="1"/>
            <p:nvPr/>
          </p:nvSpPr>
          <p:spPr>
            <a:xfrm>
              <a:off x="1523748" y="6072440"/>
              <a:ext cx="95250" cy="952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228600" marR="0" lvl="1" indent="-2286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0A86C3CB-FA4F-493A-9235-CFDBA8A5CAA1}"/>
                </a:ext>
              </a:extLst>
            </p:cNvPr>
            <p:cNvSpPr txBox="1"/>
            <p:nvPr/>
          </p:nvSpPr>
          <p:spPr>
            <a:xfrm>
              <a:off x="1675896" y="6072440"/>
              <a:ext cx="95250" cy="952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228600" marR="0" lvl="1" indent="-2286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7E850F0C-CA59-42DB-8065-3091CE7EF5D4}"/>
                </a:ext>
              </a:extLst>
            </p:cNvPr>
            <p:cNvSpPr txBox="1"/>
            <p:nvPr/>
          </p:nvSpPr>
          <p:spPr>
            <a:xfrm>
              <a:off x="1828045" y="6072440"/>
              <a:ext cx="95250" cy="9525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228600" marR="0" lvl="1" indent="-2286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endParaRPr kumimoji="0" lang="en-ID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endParaRPr>
            </a:p>
          </p:txBody>
        </p:sp>
      </p:grpSp>
      <p:pic>
        <p:nvPicPr>
          <p:cNvPr id="74" name="Graphic 73">
            <a:extLst>
              <a:ext uri="{FF2B5EF4-FFF2-40B4-BE49-F238E27FC236}">
                <a16:creationId xmlns:a16="http://schemas.microsoft.com/office/drawing/2014/main" id="{C6036872-D71D-488C-A391-C247BBA9C94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62824" y="1994284"/>
            <a:ext cx="318712" cy="252312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591903E9-02DD-4EF2-9C5E-B2DB9F3038E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58102" y="1961083"/>
            <a:ext cx="318712" cy="318712"/>
          </a:xfrm>
          <a:prstGeom prst="rect">
            <a:avLst/>
          </a:prstGeom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A20C570D-ADA5-4369-8F9E-E94983CBF8E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10463" y="1974363"/>
            <a:ext cx="318712" cy="292152"/>
          </a:xfrm>
          <a:prstGeom prst="rect">
            <a:avLst/>
          </a:prstGeom>
        </p:spPr>
      </p:pic>
      <p:pic>
        <p:nvPicPr>
          <p:cNvPr id="78" name="Graphic 77">
            <a:extLst>
              <a:ext uri="{FF2B5EF4-FFF2-40B4-BE49-F238E27FC236}">
                <a16:creationId xmlns:a16="http://schemas.microsoft.com/office/drawing/2014/main" id="{F9B21E42-5FFC-46D2-9B82-92762CB8B520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255024" y="1961083"/>
            <a:ext cx="239034" cy="318712"/>
          </a:xfrm>
          <a:prstGeom prst="rect">
            <a:avLst/>
          </a:prstGeom>
        </p:spPr>
      </p:pic>
      <p:sp>
        <p:nvSpPr>
          <p:cNvPr id="4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27833951-7F5A-493B-ACAB-1CE6B0AD5FC8}"/>
              </a:ext>
            </a:extLst>
          </p:cNvPr>
          <p:cNvSpPr txBox="1"/>
          <p:nvPr/>
        </p:nvSpPr>
        <p:spPr>
          <a:xfrm>
            <a:off x="925875" y="3481056"/>
            <a:ext cx="1783161" cy="15234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svg="http://schemas.microsoft.com/office/drawing/2016/SVG/main" xmlns:a14="http://schemas.microsoft.com/office/drawing/2010/main" xmlns:v="urn:schemas-microsoft-com:vml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/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/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/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47" name="iṩļïḓè">
            <a:extLst>
              <a:ext uri="{FF2B5EF4-FFF2-40B4-BE49-F238E27FC236}">
                <a16:creationId xmlns:a16="http://schemas.microsoft.com/office/drawing/2014/main" id="{E3410527-2BEA-42CA-84EF-A5C8300CE649}"/>
              </a:ext>
            </a:extLst>
          </p:cNvPr>
          <p:cNvSpPr txBox="1"/>
          <p:nvPr/>
        </p:nvSpPr>
        <p:spPr bwMode="auto">
          <a:xfrm>
            <a:off x="1102546" y="2942757"/>
            <a:ext cx="1534794" cy="338653"/>
          </a:xfrm>
          <a:prstGeom prst="roundRect">
            <a:avLst>
              <a:gd name="adj" fmla="val 5000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dist">
              <a:spcBef>
                <a:spcPct val="0"/>
              </a:spcBef>
            </a:pPr>
            <a:r>
              <a:rPr lang="zh-CN" altLang="en-US" sz="1000" dirty="0">
                <a:solidFill>
                  <a:schemeClr val="bg1"/>
                </a:solidFill>
                <a:cs typeface="+mn-ea"/>
                <a:sym typeface="+mn-lt"/>
              </a:rPr>
              <a:t>First</a:t>
            </a:r>
            <a:r>
              <a:rPr lang="en-US" altLang="zh-CN" sz="1000" dirty="0">
                <a:solidFill>
                  <a:schemeClr val="bg1"/>
                </a:solidFill>
                <a:cs typeface="+mn-ea"/>
                <a:sym typeface="+mn-lt"/>
              </a:rPr>
              <a:t>Ppt</a:t>
            </a:r>
          </a:p>
        </p:txBody>
      </p:sp>
      <p:sp>
        <p:nvSpPr>
          <p:cNvPr id="4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5371D5B1-068F-45A0-90FC-B460037FB1EF}"/>
              </a:ext>
            </a:extLst>
          </p:cNvPr>
          <p:cNvSpPr txBox="1"/>
          <p:nvPr/>
        </p:nvSpPr>
        <p:spPr>
          <a:xfrm>
            <a:off x="3758612" y="3451111"/>
            <a:ext cx="1783161" cy="15234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svg="http://schemas.microsoft.com/office/drawing/2016/SVG/main" xmlns:a14="http://schemas.microsoft.com/office/drawing/2010/main" xmlns:v="urn:schemas-microsoft-com:vml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/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/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/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49" name="iṩļïḓè">
            <a:extLst>
              <a:ext uri="{FF2B5EF4-FFF2-40B4-BE49-F238E27FC236}">
                <a16:creationId xmlns:a16="http://schemas.microsoft.com/office/drawing/2014/main" id="{3FD6F713-29F1-4054-96FD-3D8B9ADDC103}"/>
              </a:ext>
            </a:extLst>
          </p:cNvPr>
          <p:cNvSpPr txBox="1"/>
          <p:nvPr/>
        </p:nvSpPr>
        <p:spPr bwMode="auto">
          <a:xfrm>
            <a:off x="3935283" y="2912812"/>
            <a:ext cx="1534794" cy="338653"/>
          </a:xfrm>
          <a:prstGeom prst="roundRect">
            <a:avLst>
              <a:gd name="adj" fmla="val 5000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dist">
              <a:spcBef>
                <a:spcPct val="0"/>
              </a:spcBef>
            </a:pPr>
            <a:r>
              <a:rPr lang="zh-CN" altLang="en-US" sz="1000" dirty="0">
                <a:solidFill>
                  <a:schemeClr val="bg1"/>
                </a:solidFill>
                <a:cs typeface="+mn-ea"/>
                <a:sym typeface="+mn-lt"/>
              </a:rPr>
              <a:t>First</a:t>
            </a:r>
            <a:r>
              <a:rPr lang="en-US" altLang="zh-CN" sz="1000" dirty="0">
                <a:solidFill>
                  <a:schemeClr val="bg1"/>
                </a:solidFill>
                <a:cs typeface="+mn-ea"/>
                <a:sym typeface="+mn-lt"/>
              </a:rPr>
              <a:t>Ppt</a:t>
            </a:r>
          </a:p>
        </p:txBody>
      </p:sp>
      <p:sp>
        <p:nvSpPr>
          <p:cNvPr id="51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DD332001-9871-4A86-A88E-C61D4F68634D}"/>
              </a:ext>
            </a:extLst>
          </p:cNvPr>
          <p:cNvSpPr txBox="1"/>
          <p:nvPr/>
        </p:nvSpPr>
        <p:spPr>
          <a:xfrm>
            <a:off x="6610973" y="3410436"/>
            <a:ext cx="1783161" cy="15234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svg="http://schemas.microsoft.com/office/drawing/2016/SVG/main" xmlns:a14="http://schemas.microsoft.com/office/drawing/2010/main" xmlns:v="urn:schemas-microsoft-com:vml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/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/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/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52" name="iṩļïḓè">
            <a:extLst>
              <a:ext uri="{FF2B5EF4-FFF2-40B4-BE49-F238E27FC236}">
                <a16:creationId xmlns:a16="http://schemas.microsoft.com/office/drawing/2014/main" id="{05EF2582-169C-49F1-A44F-B705762BAF6D}"/>
              </a:ext>
            </a:extLst>
          </p:cNvPr>
          <p:cNvSpPr txBox="1"/>
          <p:nvPr/>
        </p:nvSpPr>
        <p:spPr bwMode="auto">
          <a:xfrm>
            <a:off x="6787644" y="2872137"/>
            <a:ext cx="1534794" cy="338653"/>
          </a:xfrm>
          <a:prstGeom prst="roundRect">
            <a:avLst>
              <a:gd name="adj" fmla="val 5000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dist">
              <a:spcBef>
                <a:spcPct val="0"/>
              </a:spcBef>
            </a:pPr>
            <a:r>
              <a:rPr lang="zh-CN" altLang="en-US" sz="1000" dirty="0">
                <a:solidFill>
                  <a:schemeClr val="bg1"/>
                </a:solidFill>
                <a:cs typeface="+mn-ea"/>
                <a:sym typeface="+mn-lt"/>
              </a:rPr>
              <a:t>First</a:t>
            </a:r>
            <a:r>
              <a:rPr lang="en-US" altLang="zh-CN" sz="1000" dirty="0">
                <a:solidFill>
                  <a:schemeClr val="bg1"/>
                </a:solidFill>
                <a:cs typeface="+mn-ea"/>
                <a:sym typeface="+mn-lt"/>
              </a:rPr>
              <a:t>Ppt</a:t>
            </a:r>
          </a:p>
        </p:txBody>
      </p:sp>
      <p:sp>
        <p:nvSpPr>
          <p:cNvPr id="5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2DF1965A-71A9-410F-91FC-D0435DF785CF}"/>
              </a:ext>
            </a:extLst>
          </p:cNvPr>
          <p:cNvSpPr txBox="1"/>
          <p:nvPr/>
        </p:nvSpPr>
        <p:spPr>
          <a:xfrm>
            <a:off x="9482964" y="3382512"/>
            <a:ext cx="1783161" cy="15234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svg="http://schemas.microsoft.com/office/drawing/2016/SVG/main" xmlns:a14="http://schemas.microsoft.com/office/drawing/2010/main" xmlns:v="urn:schemas-microsoft-com:vml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/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/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/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75" name="iṩļïḓè">
            <a:extLst>
              <a:ext uri="{FF2B5EF4-FFF2-40B4-BE49-F238E27FC236}">
                <a16:creationId xmlns:a16="http://schemas.microsoft.com/office/drawing/2014/main" id="{6AF91454-8756-418A-8697-ECB74365755E}"/>
              </a:ext>
            </a:extLst>
          </p:cNvPr>
          <p:cNvSpPr txBox="1"/>
          <p:nvPr/>
        </p:nvSpPr>
        <p:spPr bwMode="auto">
          <a:xfrm>
            <a:off x="9659635" y="2844213"/>
            <a:ext cx="1534794" cy="338653"/>
          </a:xfrm>
          <a:prstGeom prst="roundRect">
            <a:avLst>
              <a:gd name="adj" fmla="val 5000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dist">
              <a:spcBef>
                <a:spcPct val="0"/>
              </a:spcBef>
            </a:pPr>
            <a:r>
              <a:rPr lang="zh-CN" altLang="en-US" sz="1000" dirty="0">
                <a:solidFill>
                  <a:schemeClr val="bg1"/>
                </a:solidFill>
                <a:cs typeface="+mn-ea"/>
                <a:sym typeface="+mn-lt"/>
              </a:rPr>
              <a:t>First</a:t>
            </a:r>
            <a:r>
              <a:rPr lang="en-US" altLang="zh-CN" sz="1000" dirty="0">
                <a:solidFill>
                  <a:schemeClr val="bg1"/>
                </a:solidFill>
                <a:cs typeface="+mn-ea"/>
                <a:sym typeface="+mn-lt"/>
              </a:rPr>
              <a:t>Ppt</a:t>
            </a:r>
          </a:p>
        </p:txBody>
      </p:sp>
      <p:grpSp>
        <p:nvGrpSpPr>
          <p:cNvPr id="79" name="组合 78">
            <a:extLst>
              <a:ext uri="{FF2B5EF4-FFF2-40B4-BE49-F238E27FC236}">
                <a16:creationId xmlns:a16="http://schemas.microsoft.com/office/drawing/2014/main" id="{523B4B7B-9113-45DD-BB84-AA71BC6E0118}"/>
              </a:ext>
            </a:extLst>
          </p:cNvPr>
          <p:cNvGrpSpPr/>
          <p:nvPr/>
        </p:nvGrpSpPr>
        <p:grpSpPr>
          <a:xfrm>
            <a:off x="4827274" y="830187"/>
            <a:ext cx="2582174" cy="500937"/>
            <a:chOff x="423052" y="305730"/>
            <a:chExt cx="2582174" cy="500937"/>
          </a:xfrm>
          <a:gradFill>
            <a:gsLst>
              <a:gs pos="0">
                <a:srgbClr val="1669E0"/>
              </a:gs>
              <a:gs pos="100000">
                <a:srgbClr val="37A6FF"/>
              </a:gs>
            </a:gsLst>
            <a:lin ang="5400012" scaled="0"/>
          </a:gradFill>
        </p:grpSpPr>
        <p:sp>
          <p:nvSpPr>
            <p:cNvPr id="80" name="Rectangle: Rounded Corners 34">
              <a:extLst>
                <a:ext uri="{FF2B5EF4-FFF2-40B4-BE49-F238E27FC236}">
                  <a16:creationId xmlns:a16="http://schemas.microsoft.com/office/drawing/2014/main" id="{48A97D12-E10F-400F-8C4A-FC13BDFFBED0}"/>
                </a:ext>
              </a:extLst>
            </p:cNvPr>
            <p:cNvSpPr/>
            <p:nvPr/>
          </p:nvSpPr>
          <p:spPr>
            <a:xfrm>
              <a:off x="815816" y="305730"/>
              <a:ext cx="1830269" cy="50093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r>
                <a:rPr lang="en-US">
                  <a:solidFill>
                    <a:prstClr val="white"/>
                  </a:solidFill>
                  <a:cs typeface="+mn-ea"/>
                  <a:sym typeface="+mn-lt"/>
                </a:rPr>
                <a:t> </a:t>
              </a:r>
              <a:endParaRPr lang="en-US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81" name="iṩļïḓè">
              <a:extLst>
                <a:ext uri="{FF2B5EF4-FFF2-40B4-BE49-F238E27FC236}">
                  <a16:creationId xmlns:a16="http://schemas.microsoft.com/office/drawing/2014/main" id="{2A24F8C9-C2B9-475B-993C-AF2E6619EE83}"/>
                </a:ext>
              </a:extLst>
            </p:cNvPr>
            <p:cNvSpPr txBox="1"/>
            <p:nvPr/>
          </p:nvSpPr>
          <p:spPr bwMode="auto">
            <a:xfrm>
              <a:off x="943549" y="407694"/>
              <a:ext cx="1534794" cy="33865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solidFill>
                    <a:prstClr val="white"/>
                  </a:solidFill>
                  <a:latin typeface="Calibri" panose="020F05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dist" defTabSz="914400"/>
              <a:r>
                <a:rPr lang="en-US" altLang="zh-CN" sz="1400" dirty="0">
                  <a:solidFill>
                    <a:srgbClr val="0F65B4"/>
                  </a:solidFill>
                  <a:cs typeface="+mn-ea"/>
                  <a:sym typeface="+mn-lt"/>
                </a:rPr>
                <a:t>Jpppt.com</a:t>
              </a:r>
            </a:p>
          </p:txBody>
        </p:sp>
        <p:sp>
          <p:nvSpPr>
            <p:cNvPr id="82" name="椭圆 81">
              <a:extLst>
                <a:ext uri="{FF2B5EF4-FFF2-40B4-BE49-F238E27FC236}">
                  <a16:creationId xmlns:a16="http://schemas.microsoft.com/office/drawing/2014/main" id="{E5D4C3DE-B942-4167-BA5B-D9AFFAADBB49}"/>
                </a:ext>
              </a:extLst>
            </p:cNvPr>
            <p:cNvSpPr/>
            <p:nvPr/>
          </p:nvSpPr>
          <p:spPr>
            <a:xfrm>
              <a:off x="423052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83" name="椭圆 82">
              <a:extLst>
                <a:ext uri="{FF2B5EF4-FFF2-40B4-BE49-F238E27FC236}">
                  <a16:creationId xmlns:a16="http://schemas.microsoft.com/office/drawing/2014/main" id="{AF9BAA3D-4B65-411A-87A0-22A1C003A9F6}"/>
                </a:ext>
              </a:extLst>
            </p:cNvPr>
            <p:cNvSpPr/>
            <p:nvPr/>
          </p:nvSpPr>
          <p:spPr>
            <a:xfrm>
              <a:off x="2800384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7625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svg="http://schemas.microsoft.com/office/drawing/2016/SVG/main" xmlns:a14="http://schemas.microsoft.com/office/drawing/2010/main" xmlns:v="urn:schemas-microsoft-com:vml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/>
      <p:bldP spid="48" grpId="0" animBg="1"/>
      <p:bldP spid="49" grpId="0"/>
      <p:bldP spid="51" grpId="0" animBg="1"/>
      <p:bldP spid="52" grpId="0"/>
      <p:bldP spid="53" grpId="0" animBg="1"/>
      <p:bldP spid="7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Freeform: Shape 173">
            <a:extLst>
              <a:ext uri="{FF2B5EF4-FFF2-40B4-BE49-F238E27FC236}">
                <a16:creationId xmlns:a16="http://schemas.microsoft.com/office/drawing/2014/main" id="{93873AF1-9A36-4745-A020-8C0A52C4732A}"/>
              </a:ext>
            </a:extLst>
          </p:cNvPr>
          <p:cNvSpPr/>
          <p:nvPr/>
        </p:nvSpPr>
        <p:spPr>
          <a:xfrm>
            <a:off x="0" y="0"/>
            <a:ext cx="3649212" cy="2695000"/>
          </a:xfrm>
          <a:custGeom>
            <a:avLst/>
            <a:gdLst>
              <a:gd name="connsiteX0" fmla="*/ 0 w 3649212"/>
              <a:gd name="connsiteY0" fmla="*/ 0 h 2695000"/>
              <a:gd name="connsiteX1" fmla="*/ 3649212 w 3649212"/>
              <a:gd name="connsiteY1" fmla="*/ 0 h 2695000"/>
              <a:gd name="connsiteX2" fmla="*/ 3648267 w 3649212"/>
              <a:gd name="connsiteY2" fmla="*/ 1921 h 2695000"/>
              <a:gd name="connsiteX3" fmla="*/ 2868962 w 3649212"/>
              <a:gd name="connsiteY3" fmla="*/ 647339 h 2695000"/>
              <a:gd name="connsiteX4" fmla="*/ 1320525 w 3649212"/>
              <a:gd name="connsiteY4" fmla="*/ 776375 h 2695000"/>
              <a:gd name="connsiteX5" fmla="*/ 675343 w 3649212"/>
              <a:gd name="connsiteY5" fmla="*/ 2389330 h 2695000"/>
              <a:gd name="connsiteX6" fmla="*/ 118874 w 3649212"/>
              <a:gd name="connsiteY6" fmla="*/ 2675629 h 2695000"/>
              <a:gd name="connsiteX7" fmla="*/ 0 w 3649212"/>
              <a:gd name="connsiteY7" fmla="*/ 2695000 h 269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49212" h="2695000">
                <a:moveTo>
                  <a:pt x="0" y="0"/>
                </a:moveTo>
                <a:lnTo>
                  <a:pt x="3649212" y="0"/>
                </a:lnTo>
                <a:lnTo>
                  <a:pt x="3648267" y="1921"/>
                </a:lnTo>
                <a:cubicBezTo>
                  <a:pt x="3495872" y="260902"/>
                  <a:pt x="3104184" y="521327"/>
                  <a:pt x="2868962" y="647339"/>
                </a:cubicBezTo>
                <a:cubicBezTo>
                  <a:pt x="2492605" y="848957"/>
                  <a:pt x="1686127" y="486043"/>
                  <a:pt x="1320525" y="776375"/>
                </a:cubicBezTo>
                <a:cubicBezTo>
                  <a:pt x="954922" y="1066706"/>
                  <a:pt x="954922" y="2066739"/>
                  <a:pt x="675343" y="2389330"/>
                </a:cubicBezTo>
                <a:cubicBezTo>
                  <a:pt x="535554" y="2550626"/>
                  <a:pt x="320493" y="2633961"/>
                  <a:pt x="118874" y="2675629"/>
                </a:cubicBezTo>
                <a:lnTo>
                  <a:pt x="0" y="2695000"/>
                </a:ln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-4572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89457F5-C15A-4440-97B5-D98E16738680}"/>
              </a:ext>
            </a:extLst>
          </p:cNvPr>
          <p:cNvSpPr txBox="1"/>
          <p:nvPr/>
        </p:nvSpPr>
        <p:spPr>
          <a:xfrm>
            <a:off x="533402" y="492718"/>
            <a:ext cx="882648" cy="6608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>
              <a:latin typeface="+mn-lt"/>
              <a:cs typeface="+mn-ea"/>
              <a:sym typeface="+mn-lt"/>
            </a:endParaRPr>
          </a:p>
        </p:txBody>
      </p:sp>
      <p:pic>
        <p:nvPicPr>
          <p:cNvPr id="127" name="Picture 126" descr="A picture containing person, standing, person, holding&#10;&#10;Description automatically generated">
            <a:extLst>
              <a:ext uri="{FF2B5EF4-FFF2-40B4-BE49-F238E27FC236}">
                <a16:creationId xmlns:a16="http://schemas.microsoft.com/office/drawing/2014/main" id="{58893970-3EE6-40AA-985C-1DBA133A2D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120074"/>
            <a:ext cx="12192000" cy="1571312"/>
          </a:xfrm>
          <a:prstGeom prst="rect">
            <a:avLst/>
          </a:prstGeom>
        </p:spPr>
      </p:pic>
      <p:sp>
        <p:nvSpPr>
          <p:cNvPr id="129" name="TextBox 128">
            <a:extLst>
              <a:ext uri="{FF2B5EF4-FFF2-40B4-BE49-F238E27FC236}">
                <a16:creationId xmlns:a16="http://schemas.microsoft.com/office/drawing/2014/main" id="{4AA6E64B-FA14-43B9-8112-DE4A3F0D56A3}"/>
              </a:ext>
            </a:extLst>
          </p:cNvPr>
          <p:cNvSpPr txBox="1"/>
          <p:nvPr/>
        </p:nvSpPr>
        <p:spPr>
          <a:xfrm>
            <a:off x="0" y="3120074"/>
            <a:ext cx="12192000" cy="1573674"/>
          </a:xfrm>
          <a:prstGeom prst="rect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>
              <a:latin typeface="+mn-lt"/>
              <a:cs typeface="+mn-ea"/>
              <a:sym typeface="+mn-lt"/>
            </a:endParaRP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id="{CF558615-F8B2-4DA9-A145-8869C3119660}"/>
              </a:ext>
            </a:extLst>
          </p:cNvPr>
          <p:cNvSpPr/>
          <p:nvPr/>
        </p:nvSpPr>
        <p:spPr>
          <a:xfrm>
            <a:off x="5168898" y="2984508"/>
            <a:ext cx="1854202" cy="185420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683E7A43-6D13-4C00-8E80-A9E0C08B49C4}"/>
              </a:ext>
            </a:extLst>
          </p:cNvPr>
          <p:cNvSpPr/>
          <p:nvPr/>
        </p:nvSpPr>
        <p:spPr>
          <a:xfrm flipH="1">
            <a:off x="3768010" y="3924197"/>
            <a:ext cx="2817969" cy="2330966"/>
          </a:xfrm>
          <a:custGeom>
            <a:avLst/>
            <a:gdLst>
              <a:gd name="connsiteX0" fmla="*/ 880560 w 1992646"/>
              <a:gd name="connsiteY0" fmla="*/ 0 h 1648276"/>
              <a:gd name="connsiteX1" fmla="*/ 790529 w 1992646"/>
              <a:gd name="connsiteY1" fmla="*/ 59032 h 1648276"/>
              <a:gd name="connsiteX2" fmla="*/ 0 w 1992646"/>
              <a:gd name="connsiteY2" fmla="*/ 1648276 h 1648276"/>
              <a:gd name="connsiteX3" fmla="*/ 690692 w 1992646"/>
              <a:gd name="connsiteY3" fmla="*/ 1648276 h 1648276"/>
              <a:gd name="connsiteX4" fmla="*/ 1353190 w 1992646"/>
              <a:gd name="connsiteY4" fmla="*/ 514178 h 1648276"/>
              <a:gd name="connsiteX5" fmla="*/ 1842575 w 1992646"/>
              <a:gd name="connsiteY5" fmla="*/ 354988 h 1648276"/>
              <a:gd name="connsiteX6" fmla="*/ 1992646 w 1992646"/>
              <a:gd name="connsiteY6" fmla="*/ 347471 h 1648276"/>
              <a:gd name="connsiteX7" fmla="*/ 1992646 w 1992646"/>
              <a:gd name="connsiteY7" fmla="*/ 343608 h 1648276"/>
              <a:gd name="connsiteX8" fmla="*/ 1892878 w 1992646"/>
              <a:gd name="connsiteY8" fmla="*/ 341876 h 1648276"/>
              <a:gd name="connsiteX9" fmla="*/ 1013956 w 1992646"/>
              <a:gd name="connsiteY9" fmla="*/ 87466 h 1648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92646" h="1648276">
                <a:moveTo>
                  <a:pt x="880560" y="0"/>
                </a:moveTo>
                <a:lnTo>
                  <a:pt x="790529" y="59032"/>
                </a:lnTo>
                <a:cubicBezTo>
                  <a:pt x="296689" y="432464"/>
                  <a:pt x="0" y="1019010"/>
                  <a:pt x="0" y="1648276"/>
                </a:cubicBezTo>
                <a:lnTo>
                  <a:pt x="690692" y="1648276"/>
                </a:lnTo>
                <a:cubicBezTo>
                  <a:pt x="690692" y="1178391"/>
                  <a:pt x="943885" y="744963"/>
                  <a:pt x="1353190" y="514178"/>
                </a:cubicBezTo>
                <a:cubicBezTo>
                  <a:pt x="1506679" y="427633"/>
                  <a:pt x="1673191" y="374622"/>
                  <a:pt x="1842575" y="354988"/>
                </a:cubicBezTo>
                <a:lnTo>
                  <a:pt x="1992646" y="347471"/>
                </a:lnTo>
                <a:lnTo>
                  <a:pt x="1992646" y="343608"/>
                </a:lnTo>
                <a:lnTo>
                  <a:pt x="1892878" y="341876"/>
                </a:lnTo>
                <a:cubicBezTo>
                  <a:pt x="1589220" y="326676"/>
                  <a:pt x="1288025" y="241999"/>
                  <a:pt x="1013956" y="87466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C222A172-809F-418E-8CA2-91DCCDF2B0DC}"/>
              </a:ext>
            </a:extLst>
          </p:cNvPr>
          <p:cNvSpPr/>
          <p:nvPr/>
        </p:nvSpPr>
        <p:spPr>
          <a:xfrm>
            <a:off x="5606019" y="3438272"/>
            <a:ext cx="2817969" cy="2816891"/>
          </a:xfrm>
          <a:custGeom>
            <a:avLst/>
            <a:gdLst>
              <a:gd name="connsiteX0" fmla="*/ 1130 w 1992646"/>
              <a:gd name="connsiteY0" fmla="*/ 1975039 h 1991884"/>
              <a:gd name="connsiteX1" fmla="*/ 2259 w 1992646"/>
              <a:gd name="connsiteY1" fmla="*/ 1991884 h 1991884"/>
              <a:gd name="connsiteX2" fmla="*/ 0 w 1992646"/>
              <a:gd name="connsiteY2" fmla="*/ 1991884 h 1991884"/>
              <a:gd name="connsiteX3" fmla="*/ 1992646 w 1992646"/>
              <a:gd name="connsiteY3" fmla="*/ 0 h 1991884"/>
              <a:gd name="connsiteX4" fmla="*/ 1992646 w 1992646"/>
              <a:gd name="connsiteY4" fmla="*/ 691079 h 1991884"/>
              <a:gd name="connsiteX5" fmla="*/ 1842575 w 1992646"/>
              <a:gd name="connsiteY5" fmla="*/ 698596 h 1991884"/>
              <a:gd name="connsiteX6" fmla="*/ 1353190 w 1992646"/>
              <a:gd name="connsiteY6" fmla="*/ 857786 h 1991884"/>
              <a:gd name="connsiteX7" fmla="*/ 702371 w 1992646"/>
              <a:gd name="connsiteY7" fmla="*/ 1817711 h 1991884"/>
              <a:gd name="connsiteX8" fmla="*/ 691897 w 1992646"/>
              <a:gd name="connsiteY8" fmla="*/ 1973915 h 1991884"/>
              <a:gd name="connsiteX9" fmla="*/ 679238 w 1992646"/>
              <a:gd name="connsiteY9" fmla="*/ 1758245 h 1991884"/>
              <a:gd name="connsiteX10" fmla="*/ 369570 w 1992646"/>
              <a:gd name="connsiteY10" fmla="*/ 903673 h 1991884"/>
              <a:gd name="connsiteX11" fmla="*/ 347986 w 1992646"/>
              <a:gd name="connsiteY11" fmla="*/ 874371 h 1991884"/>
              <a:gd name="connsiteX12" fmla="*/ 417841 w 1992646"/>
              <a:gd name="connsiteY12" fmla="*/ 770942 h 1991884"/>
              <a:gd name="connsiteX13" fmla="*/ 1013955 w 1992646"/>
              <a:gd name="connsiteY13" fmla="*/ 256142 h 1991884"/>
              <a:gd name="connsiteX14" fmla="*/ 1892878 w 1992646"/>
              <a:gd name="connsiteY14" fmla="*/ 1733 h 1991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92646" h="1991884">
                <a:moveTo>
                  <a:pt x="1130" y="1975039"/>
                </a:moveTo>
                <a:lnTo>
                  <a:pt x="2259" y="1991884"/>
                </a:lnTo>
                <a:lnTo>
                  <a:pt x="0" y="1991884"/>
                </a:lnTo>
                <a:close/>
                <a:moveTo>
                  <a:pt x="1992646" y="0"/>
                </a:moveTo>
                <a:lnTo>
                  <a:pt x="1992646" y="691079"/>
                </a:lnTo>
                <a:lnTo>
                  <a:pt x="1842575" y="698596"/>
                </a:lnTo>
                <a:cubicBezTo>
                  <a:pt x="1673191" y="718230"/>
                  <a:pt x="1506679" y="771241"/>
                  <a:pt x="1353190" y="857786"/>
                </a:cubicBezTo>
                <a:cubicBezTo>
                  <a:pt x="995048" y="1059723"/>
                  <a:pt x="756429" y="1416808"/>
                  <a:pt x="702371" y="1817711"/>
                </a:cubicBezTo>
                <a:lnTo>
                  <a:pt x="691897" y="1973915"/>
                </a:lnTo>
                <a:lnTo>
                  <a:pt x="679238" y="1758245"/>
                </a:lnTo>
                <a:cubicBezTo>
                  <a:pt x="642930" y="1450283"/>
                  <a:pt x="535560" y="1158326"/>
                  <a:pt x="369570" y="903673"/>
                </a:cubicBezTo>
                <a:lnTo>
                  <a:pt x="347986" y="874371"/>
                </a:lnTo>
                <a:lnTo>
                  <a:pt x="417841" y="770942"/>
                </a:lnTo>
                <a:cubicBezTo>
                  <a:pt x="577723" y="564670"/>
                  <a:pt x="779039" y="388599"/>
                  <a:pt x="1013955" y="256142"/>
                </a:cubicBezTo>
                <a:cubicBezTo>
                  <a:pt x="1288024" y="101609"/>
                  <a:pt x="1589219" y="16932"/>
                  <a:pt x="1892878" y="1733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CA389AA3-A421-4DBD-9857-D4BBB1AFA3F3}"/>
              </a:ext>
            </a:extLst>
          </p:cNvPr>
          <p:cNvSpPr/>
          <p:nvPr/>
        </p:nvSpPr>
        <p:spPr>
          <a:xfrm rot="10800000" flipH="1">
            <a:off x="5606020" y="1593231"/>
            <a:ext cx="2817968" cy="2330966"/>
          </a:xfrm>
          <a:custGeom>
            <a:avLst/>
            <a:gdLst>
              <a:gd name="connsiteX0" fmla="*/ 0 w 1992645"/>
              <a:gd name="connsiteY0" fmla="*/ 1648276 h 1648276"/>
              <a:gd name="connsiteX1" fmla="*/ 690691 w 1992645"/>
              <a:gd name="connsiteY1" fmla="*/ 1648276 h 1648276"/>
              <a:gd name="connsiteX2" fmla="*/ 1353189 w 1992645"/>
              <a:gd name="connsiteY2" fmla="*/ 514178 h 1648276"/>
              <a:gd name="connsiteX3" fmla="*/ 1842575 w 1992645"/>
              <a:gd name="connsiteY3" fmla="*/ 354988 h 1648276"/>
              <a:gd name="connsiteX4" fmla="*/ 1992645 w 1992645"/>
              <a:gd name="connsiteY4" fmla="*/ 347471 h 1648276"/>
              <a:gd name="connsiteX5" fmla="*/ 1992645 w 1992645"/>
              <a:gd name="connsiteY5" fmla="*/ 343608 h 1648276"/>
              <a:gd name="connsiteX6" fmla="*/ 1892877 w 1992645"/>
              <a:gd name="connsiteY6" fmla="*/ 341876 h 1648276"/>
              <a:gd name="connsiteX7" fmla="*/ 1013954 w 1992645"/>
              <a:gd name="connsiteY7" fmla="*/ 87466 h 1648276"/>
              <a:gd name="connsiteX8" fmla="*/ 880559 w 1992645"/>
              <a:gd name="connsiteY8" fmla="*/ 0 h 1648276"/>
              <a:gd name="connsiteX9" fmla="*/ 790529 w 1992645"/>
              <a:gd name="connsiteY9" fmla="*/ 59032 h 1648276"/>
              <a:gd name="connsiteX10" fmla="*/ 0 w 1992645"/>
              <a:gd name="connsiteY10" fmla="*/ 1648276 h 1648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992645" h="1648276">
                <a:moveTo>
                  <a:pt x="0" y="1648276"/>
                </a:moveTo>
                <a:lnTo>
                  <a:pt x="690691" y="1648276"/>
                </a:lnTo>
                <a:cubicBezTo>
                  <a:pt x="690691" y="1178391"/>
                  <a:pt x="943884" y="744963"/>
                  <a:pt x="1353189" y="514178"/>
                </a:cubicBezTo>
                <a:cubicBezTo>
                  <a:pt x="1506679" y="427633"/>
                  <a:pt x="1673190" y="374622"/>
                  <a:pt x="1842575" y="354988"/>
                </a:cubicBezTo>
                <a:lnTo>
                  <a:pt x="1992645" y="347471"/>
                </a:lnTo>
                <a:lnTo>
                  <a:pt x="1992645" y="343608"/>
                </a:lnTo>
                <a:lnTo>
                  <a:pt x="1892877" y="341876"/>
                </a:lnTo>
                <a:cubicBezTo>
                  <a:pt x="1589218" y="326676"/>
                  <a:pt x="1288023" y="241999"/>
                  <a:pt x="1013954" y="87466"/>
                </a:cubicBezTo>
                <a:lnTo>
                  <a:pt x="880559" y="0"/>
                </a:lnTo>
                <a:lnTo>
                  <a:pt x="790529" y="59032"/>
                </a:lnTo>
                <a:cubicBezTo>
                  <a:pt x="296689" y="432464"/>
                  <a:pt x="0" y="1019010"/>
                  <a:pt x="0" y="1648276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16EFE936-9BFF-41B6-8D0E-45DE33A2EA12}"/>
              </a:ext>
            </a:extLst>
          </p:cNvPr>
          <p:cNvSpPr/>
          <p:nvPr/>
        </p:nvSpPr>
        <p:spPr>
          <a:xfrm rot="10800000">
            <a:off x="3768010" y="1593231"/>
            <a:ext cx="2817968" cy="2816891"/>
          </a:xfrm>
          <a:custGeom>
            <a:avLst/>
            <a:gdLst>
              <a:gd name="connsiteX0" fmla="*/ 691820 w 1992645"/>
              <a:gd name="connsiteY0" fmla="*/ 1975046 h 1991884"/>
              <a:gd name="connsiteX1" fmla="*/ 675074 w 1992645"/>
              <a:gd name="connsiteY1" fmla="*/ 1725311 h 1991884"/>
              <a:gd name="connsiteX2" fmla="*/ 420887 w 1992645"/>
              <a:gd name="connsiteY2" fmla="*/ 986784 h 1991884"/>
              <a:gd name="connsiteX3" fmla="*/ 346474 w 1992645"/>
              <a:gd name="connsiteY3" fmla="*/ 876607 h 1991884"/>
              <a:gd name="connsiteX4" fmla="*/ 417841 w 1992645"/>
              <a:gd name="connsiteY4" fmla="*/ 770942 h 1991884"/>
              <a:gd name="connsiteX5" fmla="*/ 1013954 w 1992645"/>
              <a:gd name="connsiteY5" fmla="*/ 256142 h 1991884"/>
              <a:gd name="connsiteX6" fmla="*/ 1892877 w 1992645"/>
              <a:gd name="connsiteY6" fmla="*/ 1733 h 1991884"/>
              <a:gd name="connsiteX7" fmla="*/ 1992645 w 1992645"/>
              <a:gd name="connsiteY7" fmla="*/ 0 h 1991884"/>
              <a:gd name="connsiteX8" fmla="*/ 1992645 w 1992645"/>
              <a:gd name="connsiteY8" fmla="*/ 691079 h 1991884"/>
              <a:gd name="connsiteX9" fmla="*/ 1842574 w 1992645"/>
              <a:gd name="connsiteY9" fmla="*/ 698596 h 1991884"/>
              <a:gd name="connsiteX10" fmla="*/ 1353189 w 1992645"/>
              <a:gd name="connsiteY10" fmla="*/ 857786 h 1991884"/>
              <a:gd name="connsiteX11" fmla="*/ 702370 w 1992645"/>
              <a:gd name="connsiteY11" fmla="*/ 1817711 h 1991884"/>
              <a:gd name="connsiteX12" fmla="*/ 2258 w 1992645"/>
              <a:gd name="connsiteY12" fmla="*/ 1991884 h 1991884"/>
              <a:gd name="connsiteX13" fmla="*/ 0 w 1992645"/>
              <a:gd name="connsiteY13" fmla="*/ 1991884 h 1991884"/>
              <a:gd name="connsiteX14" fmla="*/ 1129 w 1992645"/>
              <a:gd name="connsiteY14" fmla="*/ 1975047 h 1991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92645" h="1991884">
                <a:moveTo>
                  <a:pt x="691820" y="1975046"/>
                </a:moveTo>
                <a:lnTo>
                  <a:pt x="675074" y="1725311"/>
                </a:lnTo>
                <a:cubicBezTo>
                  <a:pt x="639616" y="1462347"/>
                  <a:pt x="552275" y="1211700"/>
                  <a:pt x="420887" y="986784"/>
                </a:cubicBezTo>
                <a:lnTo>
                  <a:pt x="346474" y="876607"/>
                </a:lnTo>
                <a:lnTo>
                  <a:pt x="417841" y="770942"/>
                </a:lnTo>
                <a:cubicBezTo>
                  <a:pt x="577722" y="564670"/>
                  <a:pt x="779038" y="388599"/>
                  <a:pt x="1013954" y="256142"/>
                </a:cubicBezTo>
                <a:cubicBezTo>
                  <a:pt x="1288023" y="101609"/>
                  <a:pt x="1589218" y="16932"/>
                  <a:pt x="1892877" y="1733"/>
                </a:cubicBezTo>
                <a:lnTo>
                  <a:pt x="1992645" y="0"/>
                </a:lnTo>
                <a:lnTo>
                  <a:pt x="1992645" y="691079"/>
                </a:lnTo>
                <a:lnTo>
                  <a:pt x="1842574" y="698596"/>
                </a:lnTo>
                <a:cubicBezTo>
                  <a:pt x="1673190" y="718230"/>
                  <a:pt x="1506678" y="771241"/>
                  <a:pt x="1353189" y="857786"/>
                </a:cubicBezTo>
                <a:cubicBezTo>
                  <a:pt x="995047" y="1059722"/>
                  <a:pt x="756428" y="1416808"/>
                  <a:pt x="702370" y="1817711"/>
                </a:cubicBezTo>
                <a:close/>
                <a:moveTo>
                  <a:pt x="2258" y="1991884"/>
                </a:moveTo>
                <a:lnTo>
                  <a:pt x="0" y="1991884"/>
                </a:lnTo>
                <a:lnTo>
                  <a:pt x="1129" y="1975047"/>
                </a:ln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3991A79-1DE5-4F0B-992D-C5156B156271}"/>
              </a:ext>
            </a:extLst>
          </p:cNvPr>
          <p:cNvSpPr txBox="1"/>
          <p:nvPr/>
        </p:nvSpPr>
        <p:spPr>
          <a:xfrm>
            <a:off x="7259938" y="1580642"/>
            <a:ext cx="1162825" cy="116282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rPr>
              <a:t>W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83A715F-B318-47A8-82AC-2F0B0F32730E}"/>
              </a:ext>
            </a:extLst>
          </p:cNvPr>
          <p:cNvSpPr txBox="1"/>
          <p:nvPr/>
        </p:nvSpPr>
        <p:spPr>
          <a:xfrm>
            <a:off x="7259938" y="5077781"/>
            <a:ext cx="1162825" cy="116282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rPr>
              <a:t>T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723424C5-D86F-4264-8C93-602AE554D417}"/>
              </a:ext>
            </a:extLst>
          </p:cNvPr>
          <p:cNvSpPr txBox="1"/>
          <p:nvPr/>
        </p:nvSpPr>
        <p:spPr>
          <a:xfrm>
            <a:off x="3769237" y="5077781"/>
            <a:ext cx="1162825" cy="116282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rPr>
              <a:t>O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BC167694-85CE-4C05-AE0F-2F350080A556}"/>
              </a:ext>
            </a:extLst>
          </p:cNvPr>
          <p:cNvSpPr txBox="1"/>
          <p:nvPr/>
        </p:nvSpPr>
        <p:spPr>
          <a:xfrm>
            <a:off x="3769237" y="1580642"/>
            <a:ext cx="1162825" cy="116282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+mn-ea"/>
                <a:sym typeface="+mn-lt"/>
              </a:rPr>
              <a:t>S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9F10C6CA-8FE6-408D-AACC-EC5856BD90DA}"/>
              </a:ext>
            </a:extLst>
          </p:cNvPr>
          <p:cNvSpPr txBox="1"/>
          <p:nvPr/>
        </p:nvSpPr>
        <p:spPr>
          <a:xfrm>
            <a:off x="7841350" y="74102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394A1EDC-E895-40BA-A82C-E3D73EDA808A}"/>
              </a:ext>
            </a:extLst>
          </p:cNvPr>
          <p:cNvSpPr txBox="1"/>
          <p:nvPr/>
        </p:nvSpPr>
        <p:spPr>
          <a:xfrm rot="2700000">
            <a:off x="3124108" y="5259143"/>
            <a:ext cx="800104" cy="80010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08AF45DB-5ED1-4994-947D-F62F72142111}"/>
              </a:ext>
            </a:extLst>
          </p:cNvPr>
          <p:cNvSpPr txBox="1"/>
          <p:nvPr/>
        </p:nvSpPr>
        <p:spPr>
          <a:xfrm rot="8100000" flipH="1">
            <a:off x="8267788" y="1762004"/>
            <a:ext cx="800104" cy="80010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0800000" algn="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B32BDE49-CDCF-4ADC-9C98-56E8A60F3349}"/>
              </a:ext>
            </a:extLst>
          </p:cNvPr>
          <p:cNvSpPr txBox="1"/>
          <p:nvPr/>
        </p:nvSpPr>
        <p:spPr>
          <a:xfrm rot="8100000" flipH="1">
            <a:off x="8267788" y="5259143"/>
            <a:ext cx="800104" cy="80010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0800000" algn="r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AF11E2A-E2BE-41F1-B1D6-134A7D86FE7A}"/>
              </a:ext>
            </a:extLst>
          </p:cNvPr>
          <p:cNvSpPr txBox="1"/>
          <p:nvPr/>
        </p:nvSpPr>
        <p:spPr>
          <a:xfrm rot="2700000">
            <a:off x="3124108" y="1762004"/>
            <a:ext cx="800104" cy="800100"/>
          </a:xfrm>
          <a:prstGeom prst="roundRect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sp>
        <p:nvSpPr>
          <p:cNvPr id="138" name="Rectangle 31">
            <a:extLst>
              <a:ext uri="{FF2B5EF4-FFF2-40B4-BE49-F238E27FC236}">
                <a16:creationId xmlns:a16="http://schemas.microsoft.com/office/drawing/2014/main" id="{2F8507C5-B591-48DC-B189-DA73955145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9838" y="3317563"/>
            <a:ext cx="33179" cy="99537"/>
          </a:xfrm>
          <a:prstGeom prst="rect">
            <a:avLst/>
          </a:prstGeom>
          <a:noFill/>
          <a:ln w="1428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39" name="Rectangle 32">
            <a:extLst>
              <a:ext uri="{FF2B5EF4-FFF2-40B4-BE49-F238E27FC236}">
                <a16:creationId xmlns:a16="http://schemas.microsoft.com/office/drawing/2014/main" id="{1082F8D3-D275-4133-B6B3-3D203B3331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3016" y="3268668"/>
            <a:ext cx="33179" cy="199073"/>
          </a:xfrm>
          <a:prstGeom prst="rect">
            <a:avLst/>
          </a:prstGeom>
          <a:noFill/>
          <a:ln w="1428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0" name="Rectangle 33">
            <a:extLst>
              <a:ext uri="{FF2B5EF4-FFF2-40B4-BE49-F238E27FC236}">
                <a16:creationId xmlns:a16="http://schemas.microsoft.com/office/drawing/2014/main" id="{F326F0F7-5384-4FFB-8495-2E93FA6940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59879" y="3317563"/>
            <a:ext cx="33179" cy="99537"/>
          </a:xfrm>
          <a:prstGeom prst="rect">
            <a:avLst/>
          </a:prstGeom>
          <a:noFill/>
          <a:ln w="1428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1" name="Rectangle 34">
            <a:extLst>
              <a:ext uri="{FF2B5EF4-FFF2-40B4-BE49-F238E27FC236}">
                <a16:creationId xmlns:a16="http://schemas.microsoft.com/office/drawing/2014/main" id="{B96A8001-8924-4409-A83B-2073A60242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26700" y="3268668"/>
            <a:ext cx="33179" cy="199073"/>
          </a:xfrm>
          <a:prstGeom prst="rect">
            <a:avLst/>
          </a:prstGeom>
          <a:noFill/>
          <a:ln w="1428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2" name="Freeform 35">
            <a:extLst>
              <a:ext uri="{FF2B5EF4-FFF2-40B4-BE49-F238E27FC236}">
                <a16:creationId xmlns:a16="http://schemas.microsoft.com/office/drawing/2014/main" id="{47CCD246-096F-49D9-B360-C7452493DA2D}"/>
              </a:ext>
            </a:extLst>
          </p:cNvPr>
          <p:cNvSpPr>
            <a:spLocks/>
          </p:cNvSpPr>
          <p:nvPr/>
        </p:nvSpPr>
        <p:spPr bwMode="auto">
          <a:xfrm>
            <a:off x="5029374" y="3317563"/>
            <a:ext cx="164148" cy="331788"/>
          </a:xfrm>
          <a:custGeom>
            <a:avLst/>
            <a:gdLst>
              <a:gd name="T0" fmla="*/ 8 w 40"/>
              <a:gd name="T1" fmla="*/ 16 h 80"/>
              <a:gd name="T2" fmla="*/ 0 w 40"/>
              <a:gd name="T3" fmla="*/ 16 h 80"/>
              <a:gd name="T4" fmla="*/ 0 w 40"/>
              <a:gd name="T5" fmla="*/ 28 h 80"/>
              <a:gd name="T6" fmla="*/ 8 w 40"/>
              <a:gd name="T7" fmla="*/ 36 h 80"/>
              <a:gd name="T8" fmla="*/ 0 w 40"/>
              <a:gd name="T9" fmla="*/ 80 h 80"/>
              <a:gd name="T10" fmla="*/ 40 w 40"/>
              <a:gd name="T11" fmla="*/ 80 h 80"/>
              <a:gd name="T12" fmla="*/ 33 w 40"/>
              <a:gd name="T13" fmla="*/ 42 h 80"/>
              <a:gd name="T14" fmla="*/ 36 w 40"/>
              <a:gd name="T15" fmla="*/ 32 h 80"/>
              <a:gd name="T16" fmla="*/ 40 w 40"/>
              <a:gd name="T17" fmla="*/ 23 h 80"/>
              <a:gd name="T18" fmla="*/ 40 w 40"/>
              <a:gd name="T19" fmla="*/ 0 h 80"/>
              <a:gd name="T20" fmla="*/ 8 w 40"/>
              <a:gd name="T21" fmla="*/ 0 h 80"/>
              <a:gd name="T22" fmla="*/ 8 w 40"/>
              <a:gd name="T23" fmla="*/ 16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0" h="80">
                <a:moveTo>
                  <a:pt x="8" y="16"/>
                </a:moveTo>
                <a:cubicBezTo>
                  <a:pt x="0" y="16"/>
                  <a:pt x="0" y="16"/>
                  <a:pt x="0" y="16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32"/>
                  <a:pt x="4" y="36"/>
                  <a:pt x="8" y="36"/>
                </a:cubicBezTo>
                <a:cubicBezTo>
                  <a:pt x="0" y="80"/>
                  <a:pt x="0" y="80"/>
                  <a:pt x="0" y="80"/>
                </a:cubicBezTo>
                <a:cubicBezTo>
                  <a:pt x="40" y="80"/>
                  <a:pt x="40" y="80"/>
                  <a:pt x="40" y="80"/>
                </a:cubicBezTo>
                <a:cubicBezTo>
                  <a:pt x="33" y="42"/>
                  <a:pt x="33" y="42"/>
                  <a:pt x="33" y="42"/>
                </a:cubicBezTo>
                <a:cubicBezTo>
                  <a:pt x="32" y="38"/>
                  <a:pt x="34" y="34"/>
                  <a:pt x="36" y="32"/>
                </a:cubicBezTo>
                <a:cubicBezTo>
                  <a:pt x="39" y="29"/>
                  <a:pt x="40" y="26"/>
                  <a:pt x="40" y="23"/>
                </a:cubicBezTo>
                <a:cubicBezTo>
                  <a:pt x="40" y="0"/>
                  <a:pt x="40" y="0"/>
                  <a:pt x="40" y="0"/>
                </a:cubicBezTo>
                <a:cubicBezTo>
                  <a:pt x="8" y="0"/>
                  <a:pt x="8" y="0"/>
                  <a:pt x="8" y="0"/>
                </a:cubicBezTo>
                <a:lnTo>
                  <a:pt x="8" y="16"/>
                </a:lnTo>
                <a:close/>
              </a:path>
            </a:pathLst>
          </a:custGeom>
          <a:noFill/>
          <a:ln w="1428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3" name="Line 36">
            <a:extLst>
              <a:ext uri="{FF2B5EF4-FFF2-40B4-BE49-F238E27FC236}">
                <a16:creationId xmlns:a16="http://schemas.microsoft.com/office/drawing/2014/main" id="{F4168C81-722E-464C-B5A8-DBC9633F8C92}"/>
              </a:ext>
            </a:extLst>
          </p:cNvPr>
          <p:cNvSpPr>
            <a:spLocks noChangeShapeType="1"/>
          </p:cNvSpPr>
          <p:nvPr/>
        </p:nvSpPr>
        <p:spPr bwMode="auto">
          <a:xfrm>
            <a:off x="4996195" y="3383921"/>
            <a:ext cx="57627" cy="0"/>
          </a:xfrm>
          <a:prstGeom prst="line">
            <a:avLst/>
          </a:prstGeom>
          <a:noFill/>
          <a:ln w="1428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4" name="Line 37">
            <a:extLst>
              <a:ext uri="{FF2B5EF4-FFF2-40B4-BE49-F238E27FC236}">
                <a16:creationId xmlns:a16="http://schemas.microsoft.com/office/drawing/2014/main" id="{E81FCA83-CF73-48FD-8A7B-DEE32E59114C}"/>
              </a:ext>
            </a:extLst>
          </p:cNvPr>
          <p:cNvSpPr>
            <a:spLocks noChangeShapeType="1"/>
          </p:cNvSpPr>
          <p:nvPr/>
        </p:nvSpPr>
        <p:spPr bwMode="auto">
          <a:xfrm>
            <a:off x="4996195" y="3350741"/>
            <a:ext cx="64612" cy="0"/>
          </a:xfrm>
          <a:prstGeom prst="line">
            <a:avLst/>
          </a:prstGeom>
          <a:noFill/>
          <a:ln w="1428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5" name="Line 38">
            <a:extLst>
              <a:ext uri="{FF2B5EF4-FFF2-40B4-BE49-F238E27FC236}">
                <a16:creationId xmlns:a16="http://schemas.microsoft.com/office/drawing/2014/main" id="{A92536ED-3877-48E9-83F0-E98AE028DA7A}"/>
              </a:ext>
            </a:extLst>
          </p:cNvPr>
          <p:cNvSpPr>
            <a:spLocks noChangeShapeType="1"/>
          </p:cNvSpPr>
          <p:nvPr/>
        </p:nvSpPr>
        <p:spPr bwMode="auto">
          <a:xfrm>
            <a:off x="5193521" y="3350741"/>
            <a:ext cx="33179" cy="0"/>
          </a:xfrm>
          <a:prstGeom prst="line">
            <a:avLst/>
          </a:prstGeom>
          <a:noFill/>
          <a:ln w="1428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6" name="Line 39">
            <a:extLst>
              <a:ext uri="{FF2B5EF4-FFF2-40B4-BE49-F238E27FC236}">
                <a16:creationId xmlns:a16="http://schemas.microsoft.com/office/drawing/2014/main" id="{E64CD43B-D6D5-4BA2-8109-9A857D86329E}"/>
              </a:ext>
            </a:extLst>
          </p:cNvPr>
          <p:cNvSpPr>
            <a:spLocks noChangeShapeType="1"/>
          </p:cNvSpPr>
          <p:nvPr/>
        </p:nvSpPr>
        <p:spPr bwMode="auto">
          <a:xfrm>
            <a:off x="5193521" y="3383921"/>
            <a:ext cx="33179" cy="0"/>
          </a:xfrm>
          <a:prstGeom prst="line">
            <a:avLst/>
          </a:prstGeom>
          <a:noFill/>
          <a:ln w="1428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7" name="Line 40">
            <a:extLst>
              <a:ext uri="{FF2B5EF4-FFF2-40B4-BE49-F238E27FC236}">
                <a16:creationId xmlns:a16="http://schemas.microsoft.com/office/drawing/2014/main" id="{B2750271-C9AE-4D5F-8D8D-809A21885B82}"/>
              </a:ext>
            </a:extLst>
          </p:cNvPr>
          <p:cNvSpPr>
            <a:spLocks noChangeShapeType="1"/>
          </p:cNvSpPr>
          <p:nvPr/>
        </p:nvSpPr>
        <p:spPr bwMode="auto">
          <a:xfrm>
            <a:off x="5093986" y="3317563"/>
            <a:ext cx="0" cy="57627"/>
          </a:xfrm>
          <a:prstGeom prst="line">
            <a:avLst/>
          </a:prstGeom>
          <a:noFill/>
          <a:ln w="1428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8" name="Line 41">
            <a:extLst>
              <a:ext uri="{FF2B5EF4-FFF2-40B4-BE49-F238E27FC236}">
                <a16:creationId xmlns:a16="http://schemas.microsoft.com/office/drawing/2014/main" id="{D6C811F9-AA93-4EF0-A8CE-209FF0563767}"/>
              </a:ext>
            </a:extLst>
          </p:cNvPr>
          <p:cNvSpPr>
            <a:spLocks noChangeShapeType="1"/>
          </p:cNvSpPr>
          <p:nvPr/>
        </p:nvSpPr>
        <p:spPr bwMode="auto">
          <a:xfrm>
            <a:off x="5127164" y="3317563"/>
            <a:ext cx="0" cy="57627"/>
          </a:xfrm>
          <a:prstGeom prst="line">
            <a:avLst/>
          </a:prstGeom>
          <a:noFill/>
          <a:ln w="1428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9" name="Line 42">
            <a:extLst>
              <a:ext uri="{FF2B5EF4-FFF2-40B4-BE49-F238E27FC236}">
                <a16:creationId xmlns:a16="http://schemas.microsoft.com/office/drawing/2014/main" id="{B4B831A3-EC57-4A39-91B7-CCDB1DD2B0B7}"/>
              </a:ext>
            </a:extLst>
          </p:cNvPr>
          <p:cNvSpPr>
            <a:spLocks noChangeShapeType="1"/>
          </p:cNvSpPr>
          <p:nvPr/>
        </p:nvSpPr>
        <p:spPr bwMode="auto">
          <a:xfrm>
            <a:off x="5160343" y="3317563"/>
            <a:ext cx="0" cy="57627"/>
          </a:xfrm>
          <a:prstGeom prst="line">
            <a:avLst/>
          </a:prstGeom>
          <a:noFill/>
          <a:ln w="1428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1" name="Freeform 1280">
            <a:extLst>
              <a:ext uri="{FF2B5EF4-FFF2-40B4-BE49-F238E27FC236}">
                <a16:creationId xmlns:a16="http://schemas.microsoft.com/office/drawing/2014/main" id="{35B2E817-50F6-44A6-870E-6B8B9D5A5773}"/>
              </a:ext>
            </a:extLst>
          </p:cNvPr>
          <p:cNvSpPr>
            <a:spLocks/>
          </p:cNvSpPr>
          <p:nvPr/>
        </p:nvSpPr>
        <p:spPr bwMode="auto">
          <a:xfrm>
            <a:off x="5537516" y="4805472"/>
            <a:ext cx="360363" cy="360363"/>
          </a:xfrm>
          <a:custGeom>
            <a:avLst/>
            <a:gdLst>
              <a:gd name="T0" fmla="*/ 2 w 96"/>
              <a:gd name="T1" fmla="*/ 96 h 96"/>
              <a:gd name="T2" fmla="*/ 1 w 96"/>
              <a:gd name="T3" fmla="*/ 95 h 96"/>
              <a:gd name="T4" fmla="*/ 1 w 96"/>
              <a:gd name="T5" fmla="*/ 93 h 96"/>
              <a:gd name="T6" fmla="*/ 93 w 96"/>
              <a:gd name="T7" fmla="*/ 1 h 96"/>
              <a:gd name="T8" fmla="*/ 95 w 96"/>
              <a:gd name="T9" fmla="*/ 1 h 96"/>
              <a:gd name="T10" fmla="*/ 95 w 96"/>
              <a:gd name="T11" fmla="*/ 3 h 96"/>
              <a:gd name="T12" fmla="*/ 3 w 96"/>
              <a:gd name="T13" fmla="*/ 95 h 96"/>
              <a:gd name="T14" fmla="*/ 2 w 96"/>
              <a:gd name="T15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6" h="96">
                <a:moveTo>
                  <a:pt x="2" y="96"/>
                </a:moveTo>
                <a:cubicBezTo>
                  <a:pt x="1" y="96"/>
                  <a:pt x="1" y="96"/>
                  <a:pt x="1" y="95"/>
                </a:cubicBezTo>
                <a:cubicBezTo>
                  <a:pt x="0" y="95"/>
                  <a:pt x="0" y="93"/>
                  <a:pt x="1" y="93"/>
                </a:cubicBezTo>
                <a:cubicBezTo>
                  <a:pt x="93" y="1"/>
                  <a:pt x="93" y="1"/>
                  <a:pt x="93" y="1"/>
                </a:cubicBezTo>
                <a:cubicBezTo>
                  <a:pt x="93" y="0"/>
                  <a:pt x="95" y="0"/>
                  <a:pt x="95" y="1"/>
                </a:cubicBezTo>
                <a:cubicBezTo>
                  <a:pt x="96" y="1"/>
                  <a:pt x="96" y="3"/>
                  <a:pt x="95" y="3"/>
                </a:cubicBezTo>
                <a:cubicBezTo>
                  <a:pt x="3" y="95"/>
                  <a:pt x="3" y="95"/>
                  <a:pt x="3" y="95"/>
                </a:cubicBezTo>
                <a:cubicBezTo>
                  <a:pt x="3" y="96"/>
                  <a:pt x="3" y="96"/>
                  <a:pt x="2" y="9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2" name="Freeform 1281">
            <a:extLst>
              <a:ext uri="{FF2B5EF4-FFF2-40B4-BE49-F238E27FC236}">
                <a16:creationId xmlns:a16="http://schemas.microsoft.com/office/drawing/2014/main" id="{555B503F-5141-4C19-B809-41A52D6763CA}"/>
              </a:ext>
            </a:extLst>
          </p:cNvPr>
          <p:cNvSpPr>
            <a:spLocks noEditPoints="1"/>
          </p:cNvSpPr>
          <p:nvPr/>
        </p:nvSpPr>
        <p:spPr bwMode="auto">
          <a:xfrm>
            <a:off x="5551804" y="4821347"/>
            <a:ext cx="120650" cy="119063"/>
          </a:xfrm>
          <a:custGeom>
            <a:avLst/>
            <a:gdLst>
              <a:gd name="T0" fmla="*/ 16 w 32"/>
              <a:gd name="T1" fmla="*/ 32 h 32"/>
              <a:gd name="T2" fmla="*/ 0 w 32"/>
              <a:gd name="T3" fmla="*/ 16 h 32"/>
              <a:gd name="T4" fmla="*/ 16 w 32"/>
              <a:gd name="T5" fmla="*/ 0 h 32"/>
              <a:gd name="T6" fmla="*/ 32 w 32"/>
              <a:gd name="T7" fmla="*/ 16 h 32"/>
              <a:gd name="T8" fmla="*/ 16 w 32"/>
              <a:gd name="T9" fmla="*/ 32 h 32"/>
              <a:gd name="T10" fmla="*/ 16 w 32"/>
              <a:gd name="T11" fmla="*/ 4 h 32"/>
              <a:gd name="T12" fmla="*/ 4 w 32"/>
              <a:gd name="T13" fmla="*/ 16 h 32"/>
              <a:gd name="T14" fmla="*/ 16 w 32"/>
              <a:gd name="T15" fmla="*/ 28 h 32"/>
              <a:gd name="T16" fmla="*/ 28 w 32"/>
              <a:gd name="T17" fmla="*/ 16 h 32"/>
              <a:gd name="T18" fmla="*/ 16 w 32"/>
              <a:gd name="T19" fmla="*/ 4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5" y="0"/>
                  <a:pt x="32" y="7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  <a:moveTo>
                  <a:pt x="16" y="4"/>
                </a:moveTo>
                <a:cubicBezTo>
                  <a:pt x="9" y="4"/>
                  <a:pt x="4" y="9"/>
                  <a:pt x="4" y="16"/>
                </a:cubicBezTo>
                <a:cubicBezTo>
                  <a:pt x="4" y="23"/>
                  <a:pt x="9" y="28"/>
                  <a:pt x="16" y="28"/>
                </a:cubicBezTo>
                <a:cubicBezTo>
                  <a:pt x="23" y="28"/>
                  <a:pt x="28" y="23"/>
                  <a:pt x="28" y="16"/>
                </a:cubicBezTo>
                <a:cubicBezTo>
                  <a:pt x="28" y="9"/>
                  <a:pt x="23" y="4"/>
                  <a:pt x="16" y="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3" name="Freeform 1282">
            <a:extLst>
              <a:ext uri="{FF2B5EF4-FFF2-40B4-BE49-F238E27FC236}">
                <a16:creationId xmlns:a16="http://schemas.microsoft.com/office/drawing/2014/main" id="{06711968-3614-4FDA-BB8B-00722E3120E0}"/>
              </a:ext>
            </a:extLst>
          </p:cNvPr>
          <p:cNvSpPr>
            <a:spLocks noEditPoints="1"/>
          </p:cNvSpPr>
          <p:nvPr/>
        </p:nvSpPr>
        <p:spPr bwMode="auto">
          <a:xfrm>
            <a:off x="5762941" y="5030897"/>
            <a:ext cx="120650" cy="120650"/>
          </a:xfrm>
          <a:custGeom>
            <a:avLst/>
            <a:gdLst>
              <a:gd name="T0" fmla="*/ 16 w 32"/>
              <a:gd name="T1" fmla="*/ 32 h 32"/>
              <a:gd name="T2" fmla="*/ 0 w 32"/>
              <a:gd name="T3" fmla="*/ 16 h 32"/>
              <a:gd name="T4" fmla="*/ 16 w 32"/>
              <a:gd name="T5" fmla="*/ 0 h 32"/>
              <a:gd name="T6" fmla="*/ 32 w 32"/>
              <a:gd name="T7" fmla="*/ 16 h 32"/>
              <a:gd name="T8" fmla="*/ 16 w 32"/>
              <a:gd name="T9" fmla="*/ 32 h 32"/>
              <a:gd name="T10" fmla="*/ 16 w 32"/>
              <a:gd name="T11" fmla="*/ 4 h 32"/>
              <a:gd name="T12" fmla="*/ 4 w 32"/>
              <a:gd name="T13" fmla="*/ 16 h 32"/>
              <a:gd name="T14" fmla="*/ 16 w 32"/>
              <a:gd name="T15" fmla="*/ 28 h 32"/>
              <a:gd name="T16" fmla="*/ 28 w 32"/>
              <a:gd name="T17" fmla="*/ 16 h 32"/>
              <a:gd name="T18" fmla="*/ 16 w 32"/>
              <a:gd name="T19" fmla="*/ 4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5" y="0"/>
                  <a:pt x="32" y="7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  <a:moveTo>
                  <a:pt x="16" y="4"/>
                </a:moveTo>
                <a:cubicBezTo>
                  <a:pt x="9" y="4"/>
                  <a:pt x="4" y="9"/>
                  <a:pt x="4" y="16"/>
                </a:cubicBezTo>
                <a:cubicBezTo>
                  <a:pt x="4" y="23"/>
                  <a:pt x="9" y="28"/>
                  <a:pt x="16" y="28"/>
                </a:cubicBezTo>
                <a:cubicBezTo>
                  <a:pt x="23" y="28"/>
                  <a:pt x="28" y="23"/>
                  <a:pt x="28" y="16"/>
                </a:cubicBezTo>
                <a:cubicBezTo>
                  <a:pt x="28" y="9"/>
                  <a:pt x="23" y="4"/>
                  <a:pt x="16" y="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4" name="Freeform 1283">
            <a:extLst>
              <a:ext uri="{FF2B5EF4-FFF2-40B4-BE49-F238E27FC236}">
                <a16:creationId xmlns:a16="http://schemas.microsoft.com/office/drawing/2014/main" id="{61FB01C0-7BE7-4A05-9F8D-4D0B5EFA3E25}"/>
              </a:ext>
            </a:extLst>
          </p:cNvPr>
          <p:cNvSpPr>
            <a:spLocks/>
          </p:cNvSpPr>
          <p:nvPr/>
        </p:nvSpPr>
        <p:spPr bwMode="auto">
          <a:xfrm>
            <a:off x="5785166" y="4805472"/>
            <a:ext cx="112713" cy="112713"/>
          </a:xfrm>
          <a:custGeom>
            <a:avLst/>
            <a:gdLst>
              <a:gd name="T0" fmla="*/ 28 w 30"/>
              <a:gd name="T1" fmla="*/ 30 h 30"/>
              <a:gd name="T2" fmla="*/ 26 w 30"/>
              <a:gd name="T3" fmla="*/ 28 h 30"/>
              <a:gd name="T4" fmla="*/ 26 w 30"/>
              <a:gd name="T5" fmla="*/ 4 h 30"/>
              <a:gd name="T6" fmla="*/ 2 w 30"/>
              <a:gd name="T7" fmla="*/ 4 h 30"/>
              <a:gd name="T8" fmla="*/ 0 w 30"/>
              <a:gd name="T9" fmla="*/ 2 h 30"/>
              <a:gd name="T10" fmla="*/ 2 w 30"/>
              <a:gd name="T11" fmla="*/ 0 h 30"/>
              <a:gd name="T12" fmla="*/ 28 w 30"/>
              <a:gd name="T13" fmla="*/ 0 h 30"/>
              <a:gd name="T14" fmla="*/ 30 w 30"/>
              <a:gd name="T15" fmla="*/ 2 h 30"/>
              <a:gd name="T16" fmla="*/ 30 w 30"/>
              <a:gd name="T17" fmla="*/ 28 h 30"/>
              <a:gd name="T18" fmla="*/ 28 w 30"/>
              <a:gd name="T19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0" h="30">
                <a:moveTo>
                  <a:pt x="28" y="30"/>
                </a:moveTo>
                <a:cubicBezTo>
                  <a:pt x="27" y="30"/>
                  <a:pt x="26" y="29"/>
                  <a:pt x="26" y="28"/>
                </a:cubicBezTo>
                <a:cubicBezTo>
                  <a:pt x="26" y="4"/>
                  <a:pt x="26" y="4"/>
                  <a:pt x="26" y="4"/>
                </a:cubicBezTo>
                <a:cubicBezTo>
                  <a:pt x="2" y="4"/>
                  <a:pt x="2" y="4"/>
                  <a:pt x="2" y="4"/>
                </a:cubicBezTo>
                <a:cubicBezTo>
                  <a:pt x="1" y="4"/>
                  <a:pt x="0" y="3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29" y="0"/>
                  <a:pt x="30" y="1"/>
                  <a:pt x="30" y="2"/>
                </a:cubicBezTo>
                <a:cubicBezTo>
                  <a:pt x="30" y="28"/>
                  <a:pt x="30" y="28"/>
                  <a:pt x="30" y="28"/>
                </a:cubicBezTo>
                <a:cubicBezTo>
                  <a:pt x="30" y="29"/>
                  <a:pt x="29" y="30"/>
                  <a:pt x="28" y="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6" name="Freeform 190">
            <a:extLst>
              <a:ext uri="{FF2B5EF4-FFF2-40B4-BE49-F238E27FC236}">
                <a16:creationId xmlns:a16="http://schemas.microsoft.com/office/drawing/2014/main" id="{84C1D388-8E6F-431A-B9B7-0015E8615E45}"/>
              </a:ext>
            </a:extLst>
          </p:cNvPr>
          <p:cNvSpPr>
            <a:spLocks/>
          </p:cNvSpPr>
          <p:nvPr/>
        </p:nvSpPr>
        <p:spPr bwMode="auto">
          <a:xfrm>
            <a:off x="6995956" y="4093791"/>
            <a:ext cx="387666" cy="446835"/>
          </a:xfrm>
          <a:custGeom>
            <a:avLst/>
            <a:gdLst>
              <a:gd name="T0" fmla="*/ 40 w 80"/>
              <a:gd name="T1" fmla="*/ 0 h 92"/>
              <a:gd name="T2" fmla="*/ 40 w 80"/>
              <a:gd name="T3" fmla="*/ 0 h 92"/>
              <a:gd name="T4" fmla="*/ 0 w 80"/>
              <a:gd name="T5" fmla="*/ 18 h 92"/>
              <a:gd name="T6" fmla="*/ 40 w 80"/>
              <a:gd name="T7" fmla="*/ 92 h 92"/>
              <a:gd name="T8" fmla="*/ 80 w 80"/>
              <a:gd name="T9" fmla="*/ 18 h 92"/>
              <a:gd name="T10" fmla="*/ 40 w 80"/>
              <a:gd name="T11" fmla="*/ 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0" h="92">
                <a:moveTo>
                  <a:pt x="40" y="0"/>
                </a:moveTo>
                <a:cubicBezTo>
                  <a:pt x="40" y="0"/>
                  <a:pt x="40" y="0"/>
                  <a:pt x="40" y="0"/>
                </a:cubicBezTo>
                <a:cubicBezTo>
                  <a:pt x="30" y="10"/>
                  <a:pt x="0" y="18"/>
                  <a:pt x="0" y="18"/>
                </a:cubicBezTo>
                <a:cubicBezTo>
                  <a:pt x="0" y="50"/>
                  <a:pt x="2" y="78"/>
                  <a:pt x="40" y="92"/>
                </a:cubicBezTo>
                <a:cubicBezTo>
                  <a:pt x="78" y="78"/>
                  <a:pt x="80" y="50"/>
                  <a:pt x="80" y="18"/>
                </a:cubicBezTo>
                <a:cubicBezTo>
                  <a:pt x="80" y="18"/>
                  <a:pt x="50" y="10"/>
                  <a:pt x="40" y="0"/>
                </a:cubicBezTo>
                <a:close/>
              </a:path>
            </a:pathLst>
          </a:custGeom>
          <a:noFill/>
          <a:ln w="14351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7" name="Freeform 191">
            <a:extLst>
              <a:ext uri="{FF2B5EF4-FFF2-40B4-BE49-F238E27FC236}">
                <a16:creationId xmlns:a16="http://schemas.microsoft.com/office/drawing/2014/main" id="{0E80A363-EA82-4702-B889-35170B1E445A}"/>
              </a:ext>
            </a:extLst>
          </p:cNvPr>
          <p:cNvSpPr>
            <a:spLocks/>
          </p:cNvSpPr>
          <p:nvPr/>
        </p:nvSpPr>
        <p:spPr bwMode="auto">
          <a:xfrm>
            <a:off x="7093893" y="4228453"/>
            <a:ext cx="191793" cy="195873"/>
          </a:xfrm>
          <a:custGeom>
            <a:avLst/>
            <a:gdLst>
              <a:gd name="T0" fmla="*/ 36 w 40"/>
              <a:gd name="T1" fmla="*/ 40 h 40"/>
              <a:gd name="T2" fmla="*/ 4 w 40"/>
              <a:gd name="T3" fmla="*/ 40 h 40"/>
              <a:gd name="T4" fmla="*/ 4 w 40"/>
              <a:gd name="T5" fmla="*/ 32 h 40"/>
              <a:gd name="T6" fmla="*/ 0 w 40"/>
              <a:gd name="T7" fmla="*/ 32 h 40"/>
              <a:gd name="T8" fmla="*/ 0 w 40"/>
              <a:gd name="T9" fmla="*/ 8 h 40"/>
              <a:gd name="T10" fmla="*/ 8 w 40"/>
              <a:gd name="T11" fmla="*/ 0 h 40"/>
              <a:gd name="T12" fmla="*/ 32 w 40"/>
              <a:gd name="T13" fmla="*/ 0 h 40"/>
              <a:gd name="T14" fmla="*/ 40 w 40"/>
              <a:gd name="T15" fmla="*/ 8 h 40"/>
              <a:gd name="T16" fmla="*/ 40 w 40"/>
              <a:gd name="T17" fmla="*/ 32 h 40"/>
              <a:gd name="T18" fmla="*/ 36 w 40"/>
              <a:gd name="T19" fmla="*/ 32 h 40"/>
              <a:gd name="T20" fmla="*/ 36 w 40"/>
              <a:gd name="T21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0" h="40">
                <a:moveTo>
                  <a:pt x="36" y="40"/>
                </a:moveTo>
                <a:cubicBezTo>
                  <a:pt x="4" y="40"/>
                  <a:pt x="4" y="40"/>
                  <a:pt x="4" y="40"/>
                </a:cubicBezTo>
                <a:cubicBezTo>
                  <a:pt x="4" y="32"/>
                  <a:pt x="4" y="32"/>
                  <a:pt x="4" y="32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8"/>
                  <a:pt x="0" y="8"/>
                  <a:pt x="0" y="8"/>
                </a:cubicBezTo>
                <a:cubicBezTo>
                  <a:pt x="0" y="4"/>
                  <a:pt x="4" y="0"/>
                  <a:pt x="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6" y="0"/>
                  <a:pt x="40" y="4"/>
                  <a:pt x="40" y="8"/>
                </a:cubicBezTo>
                <a:cubicBezTo>
                  <a:pt x="40" y="32"/>
                  <a:pt x="40" y="32"/>
                  <a:pt x="40" y="32"/>
                </a:cubicBezTo>
                <a:cubicBezTo>
                  <a:pt x="36" y="32"/>
                  <a:pt x="36" y="32"/>
                  <a:pt x="36" y="32"/>
                </a:cubicBezTo>
                <a:lnTo>
                  <a:pt x="36" y="40"/>
                </a:lnTo>
                <a:close/>
              </a:path>
            </a:pathLst>
          </a:custGeom>
          <a:noFill/>
          <a:ln w="14351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8" name="Line 192">
            <a:extLst>
              <a:ext uri="{FF2B5EF4-FFF2-40B4-BE49-F238E27FC236}">
                <a16:creationId xmlns:a16="http://schemas.microsoft.com/office/drawing/2014/main" id="{2E733DF9-D83B-4367-8634-F7E032C49BF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151022" y="4365156"/>
            <a:ext cx="0" cy="59170"/>
          </a:xfrm>
          <a:prstGeom prst="line">
            <a:avLst/>
          </a:prstGeom>
          <a:noFill/>
          <a:ln w="14351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9" name="Line 193">
            <a:extLst>
              <a:ext uri="{FF2B5EF4-FFF2-40B4-BE49-F238E27FC236}">
                <a16:creationId xmlns:a16="http://schemas.microsoft.com/office/drawing/2014/main" id="{0B2F3760-0B4C-4997-9CD3-EA8D5F4B6B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228556" y="4365156"/>
            <a:ext cx="0" cy="59170"/>
          </a:xfrm>
          <a:prstGeom prst="line">
            <a:avLst/>
          </a:prstGeom>
          <a:noFill/>
          <a:ln w="14351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60" name="Line 194">
            <a:extLst>
              <a:ext uri="{FF2B5EF4-FFF2-40B4-BE49-F238E27FC236}">
                <a16:creationId xmlns:a16="http://schemas.microsoft.com/office/drawing/2014/main" id="{D58F9933-B635-4D48-BF9C-95E5C19B27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189790" y="4365156"/>
            <a:ext cx="0" cy="59170"/>
          </a:xfrm>
          <a:prstGeom prst="line">
            <a:avLst/>
          </a:prstGeom>
          <a:noFill/>
          <a:ln w="14351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61" name="Oval 195">
            <a:extLst>
              <a:ext uri="{FF2B5EF4-FFF2-40B4-BE49-F238E27FC236}">
                <a16:creationId xmlns:a16="http://schemas.microsoft.com/office/drawing/2014/main" id="{59D0AAC1-2F0E-4C9D-8763-AA8035A669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32660" y="4277422"/>
            <a:ext cx="38767" cy="38767"/>
          </a:xfrm>
          <a:prstGeom prst="ellipse">
            <a:avLst/>
          </a:prstGeom>
          <a:noFill/>
          <a:ln w="14351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62" name="Oval 196">
            <a:extLst>
              <a:ext uri="{FF2B5EF4-FFF2-40B4-BE49-F238E27FC236}">
                <a16:creationId xmlns:a16="http://schemas.microsoft.com/office/drawing/2014/main" id="{0AE4F35F-E385-446F-BFA8-908E6044A9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10193" y="4277422"/>
            <a:ext cx="38767" cy="38767"/>
          </a:xfrm>
          <a:prstGeom prst="ellipse">
            <a:avLst/>
          </a:prstGeom>
          <a:noFill/>
          <a:ln w="14351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68" name="Line 28">
            <a:extLst>
              <a:ext uri="{FF2B5EF4-FFF2-40B4-BE49-F238E27FC236}">
                <a16:creationId xmlns:a16="http://schemas.microsoft.com/office/drawing/2014/main" id="{2F3A7EB8-1EA2-4501-A42E-6E0AC23370C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87203" y="2723757"/>
            <a:ext cx="0" cy="125730"/>
          </a:xfrm>
          <a:prstGeom prst="line">
            <a:avLst/>
          </a:prstGeom>
          <a:noFill/>
          <a:ln w="14351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69" name="Freeform 29">
            <a:extLst>
              <a:ext uri="{FF2B5EF4-FFF2-40B4-BE49-F238E27FC236}">
                <a16:creationId xmlns:a16="http://schemas.microsoft.com/office/drawing/2014/main" id="{AA7C95E8-76A6-415C-853F-7845390B92E4}"/>
              </a:ext>
            </a:extLst>
          </p:cNvPr>
          <p:cNvSpPr>
            <a:spLocks/>
          </p:cNvSpPr>
          <p:nvPr/>
        </p:nvSpPr>
        <p:spPr bwMode="auto">
          <a:xfrm>
            <a:off x="6305593" y="2594535"/>
            <a:ext cx="363220" cy="368459"/>
          </a:xfrm>
          <a:custGeom>
            <a:avLst/>
            <a:gdLst>
              <a:gd name="T0" fmla="*/ 208 w 208"/>
              <a:gd name="T1" fmla="*/ 211 h 211"/>
              <a:gd name="T2" fmla="*/ 0 w 208"/>
              <a:gd name="T3" fmla="*/ 211 h 211"/>
              <a:gd name="T4" fmla="*/ 104 w 208"/>
              <a:gd name="T5" fmla="*/ 0 h 211"/>
              <a:gd name="T6" fmla="*/ 208 w 208"/>
              <a:gd name="T7" fmla="*/ 211 h 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08" h="211">
                <a:moveTo>
                  <a:pt x="208" y="211"/>
                </a:moveTo>
                <a:lnTo>
                  <a:pt x="0" y="211"/>
                </a:lnTo>
                <a:lnTo>
                  <a:pt x="104" y="0"/>
                </a:lnTo>
                <a:lnTo>
                  <a:pt x="208" y="211"/>
                </a:lnTo>
                <a:close/>
              </a:path>
            </a:pathLst>
          </a:custGeom>
          <a:noFill/>
          <a:ln w="14351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70" name="Freeform 30">
            <a:extLst>
              <a:ext uri="{FF2B5EF4-FFF2-40B4-BE49-F238E27FC236}">
                <a16:creationId xmlns:a16="http://schemas.microsoft.com/office/drawing/2014/main" id="{A5017126-6C2F-47AE-9E7F-2B697FEB1220}"/>
              </a:ext>
            </a:extLst>
          </p:cNvPr>
          <p:cNvSpPr>
            <a:spLocks/>
          </p:cNvSpPr>
          <p:nvPr/>
        </p:nvSpPr>
        <p:spPr bwMode="auto">
          <a:xfrm>
            <a:off x="6480218" y="2894890"/>
            <a:ext cx="15717" cy="17462"/>
          </a:xfrm>
          <a:custGeom>
            <a:avLst/>
            <a:gdLst>
              <a:gd name="T0" fmla="*/ 4 w 4"/>
              <a:gd name="T1" fmla="*/ 2 h 4"/>
              <a:gd name="T2" fmla="*/ 2 w 4"/>
              <a:gd name="T3" fmla="*/ 4 h 4"/>
              <a:gd name="T4" fmla="*/ 2 w 4"/>
              <a:gd name="T5" fmla="*/ 4 h 4"/>
              <a:gd name="T6" fmla="*/ 0 w 4"/>
              <a:gd name="T7" fmla="*/ 2 h 4"/>
              <a:gd name="T8" fmla="*/ 0 w 4"/>
              <a:gd name="T9" fmla="*/ 2 h 4"/>
              <a:gd name="T10" fmla="*/ 2 w 4"/>
              <a:gd name="T11" fmla="*/ 0 h 4"/>
              <a:gd name="T12" fmla="*/ 2 w 4"/>
              <a:gd name="T13" fmla="*/ 0 h 4"/>
              <a:gd name="T14" fmla="*/ 4 w 4"/>
              <a:gd name="T15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4">
                <a:moveTo>
                  <a:pt x="4" y="2"/>
                </a:moveTo>
                <a:cubicBezTo>
                  <a:pt x="4" y="3"/>
                  <a:pt x="3" y="4"/>
                  <a:pt x="2" y="4"/>
                </a:cubicBezTo>
                <a:cubicBezTo>
                  <a:pt x="2" y="4"/>
                  <a:pt x="2" y="4"/>
                  <a:pt x="2" y="4"/>
                </a:cubicBezTo>
                <a:cubicBezTo>
                  <a:pt x="1" y="4"/>
                  <a:pt x="0" y="3"/>
                  <a:pt x="0" y="2"/>
                </a:cubicBez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2" y="0"/>
                </a:cubicBezTo>
                <a:cubicBezTo>
                  <a:pt x="2" y="0"/>
                  <a:pt x="2" y="0"/>
                  <a:pt x="2" y="0"/>
                </a:cubicBezTo>
                <a:cubicBezTo>
                  <a:pt x="3" y="0"/>
                  <a:pt x="4" y="1"/>
                  <a:pt x="4" y="2"/>
                </a:cubicBezTo>
                <a:close/>
              </a:path>
            </a:pathLst>
          </a:custGeom>
          <a:noFill/>
          <a:ln w="14351" cap="flat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D54E1096-B2E9-48B6-87AF-3440AB56D8C1}"/>
              </a:ext>
            </a:extLst>
          </p:cNvPr>
          <p:cNvSpPr txBox="1"/>
          <p:nvPr/>
        </p:nvSpPr>
        <p:spPr>
          <a:xfrm>
            <a:off x="367378" y="1718330"/>
            <a:ext cx="3033254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4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647330FA-D3E2-4BD6-A972-956EDB1E6098}"/>
              </a:ext>
            </a:extLst>
          </p:cNvPr>
          <p:cNvSpPr txBox="1"/>
          <p:nvPr/>
        </p:nvSpPr>
        <p:spPr>
          <a:xfrm>
            <a:off x="382182" y="5240852"/>
            <a:ext cx="3033254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4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B0266542-6F69-445F-8DDF-AD1B4154D905}"/>
              </a:ext>
            </a:extLst>
          </p:cNvPr>
          <p:cNvSpPr txBox="1"/>
          <p:nvPr/>
        </p:nvSpPr>
        <p:spPr>
          <a:xfrm>
            <a:off x="8884609" y="1793798"/>
            <a:ext cx="3033254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4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4F4C9654-BF6C-4EBF-AA2B-838BA2177C08}"/>
              </a:ext>
            </a:extLst>
          </p:cNvPr>
          <p:cNvSpPr txBox="1"/>
          <p:nvPr/>
        </p:nvSpPr>
        <p:spPr>
          <a:xfrm>
            <a:off x="8775884" y="5290937"/>
            <a:ext cx="3033254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54" name="iṩļïḓè">
            <a:extLst>
              <a:ext uri="{FF2B5EF4-FFF2-40B4-BE49-F238E27FC236}">
                <a16:creationId xmlns:a16="http://schemas.microsoft.com/office/drawing/2014/main" id="{A85FB1F7-ABAF-4600-A097-6D5A869CA384}"/>
              </a:ext>
            </a:extLst>
          </p:cNvPr>
          <p:cNvSpPr txBox="1"/>
          <p:nvPr/>
        </p:nvSpPr>
        <p:spPr bwMode="auto">
          <a:xfrm>
            <a:off x="604969" y="3733439"/>
            <a:ext cx="2817967" cy="307805"/>
          </a:xfrm>
          <a:prstGeom prst="roundRect">
            <a:avLst>
              <a:gd name="adj" fmla="val 5000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dist"/>
            <a:r>
              <a:rPr lang="en-US" altLang="zh-CN" sz="2000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55" name="iṩļïḓè">
            <a:extLst>
              <a:ext uri="{FF2B5EF4-FFF2-40B4-BE49-F238E27FC236}">
                <a16:creationId xmlns:a16="http://schemas.microsoft.com/office/drawing/2014/main" id="{AE760481-E120-4B65-A8C1-3947804FD9E5}"/>
              </a:ext>
            </a:extLst>
          </p:cNvPr>
          <p:cNvSpPr txBox="1"/>
          <p:nvPr/>
        </p:nvSpPr>
        <p:spPr bwMode="auto">
          <a:xfrm>
            <a:off x="8728479" y="3747461"/>
            <a:ext cx="2817967" cy="307805"/>
          </a:xfrm>
          <a:prstGeom prst="roundRect">
            <a:avLst>
              <a:gd name="adj" fmla="val 5000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dist"/>
            <a:r>
              <a:rPr lang="en-US" altLang="zh-CN" sz="2000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603172B3-269C-43F3-809F-CE7B184EF99E}"/>
              </a:ext>
            </a:extLst>
          </p:cNvPr>
          <p:cNvGrpSpPr/>
          <p:nvPr/>
        </p:nvGrpSpPr>
        <p:grpSpPr>
          <a:xfrm>
            <a:off x="4804912" y="591640"/>
            <a:ext cx="2582174" cy="500937"/>
            <a:chOff x="423052" y="305730"/>
            <a:chExt cx="2582174" cy="500937"/>
          </a:xfrm>
          <a:gradFill>
            <a:gsLst>
              <a:gs pos="0">
                <a:srgbClr val="1669E0"/>
              </a:gs>
              <a:gs pos="100000">
                <a:srgbClr val="37A6FF"/>
              </a:gs>
            </a:gsLst>
            <a:lin ang="5400012" scaled="0"/>
          </a:gradFill>
        </p:grpSpPr>
        <p:sp>
          <p:nvSpPr>
            <p:cNvPr id="57" name="Rectangle: Rounded Corners 34">
              <a:extLst>
                <a:ext uri="{FF2B5EF4-FFF2-40B4-BE49-F238E27FC236}">
                  <a16:creationId xmlns:a16="http://schemas.microsoft.com/office/drawing/2014/main" id="{252206E6-A34A-44A8-8DB7-5CEF570804B3}"/>
                </a:ext>
              </a:extLst>
            </p:cNvPr>
            <p:cNvSpPr/>
            <p:nvPr/>
          </p:nvSpPr>
          <p:spPr>
            <a:xfrm>
              <a:off x="815816" y="305730"/>
              <a:ext cx="1830269" cy="50093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r>
                <a:rPr lang="en-US">
                  <a:solidFill>
                    <a:prstClr val="white"/>
                  </a:solidFill>
                  <a:cs typeface="+mn-ea"/>
                  <a:sym typeface="+mn-lt"/>
                </a:rPr>
                <a:t> </a:t>
              </a:r>
              <a:endParaRPr lang="en-US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58" name="iṩļïḓè">
              <a:extLst>
                <a:ext uri="{FF2B5EF4-FFF2-40B4-BE49-F238E27FC236}">
                  <a16:creationId xmlns:a16="http://schemas.microsoft.com/office/drawing/2014/main" id="{F3AAEED2-FA2D-48C9-970E-4146A9867474}"/>
                </a:ext>
              </a:extLst>
            </p:cNvPr>
            <p:cNvSpPr txBox="1"/>
            <p:nvPr/>
          </p:nvSpPr>
          <p:spPr bwMode="auto">
            <a:xfrm>
              <a:off x="943549" y="407694"/>
              <a:ext cx="1534794" cy="33865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solidFill>
                    <a:prstClr val="white"/>
                  </a:solidFill>
                  <a:latin typeface="Calibri" panose="020F05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dist" defTabSz="914400"/>
              <a:r>
                <a:rPr lang="en-US" altLang="zh-CN" sz="1400" dirty="0">
                  <a:solidFill>
                    <a:srgbClr val="0F65B4"/>
                  </a:solidFill>
                  <a:cs typeface="+mn-ea"/>
                  <a:sym typeface="+mn-lt"/>
                </a:rPr>
                <a:t>Jpppt.com</a:t>
              </a:r>
            </a:p>
          </p:txBody>
        </p:sp>
        <p:sp>
          <p:nvSpPr>
            <p:cNvPr id="59" name="椭圆 58">
              <a:extLst>
                <a:ext uri="{FF2B5EF4-FFF2-40B4-BE49-F238E27FC236}">
                  <a16:creationId xmlns:a16="http://schemas.microsoft.com/office/drawing/2014/main" id="{952AF157-1E13-4457-86B4-AB9C0504096B}"/>
                </a:ext>
              </a:extLst>
            </p:cNvPr>
            <p:cNvSpPr/>
            <p:nvPr/>
          </p:nvSpPr>
          <p:spPr>
            <a:xfrm>
              <a:off x="423052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60" name="椭圆 59">
              <a:extLst>
                <a:ext uri="{FF2B5EF4-FFF2-40B4-BE49-F238E27FC236}">
                  <a16:creationId xmlns:a16="http://schemas.microsoft.com/office/drawing/2014/main" id="{1E450619-9829-4193-9ECC-B0FC1978F6E1}"/>
                </a:ext>
              </a:extLst>
            </p:cNvPr>
            <p:cNvSpPr/>
            <p:nvPr/>
          </p:nvSpPr>
          <p:spPr>
            <a:xfrm>
              <a:off x="2800384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2438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7" grpId="0" animBg="1"/>
      <p:bldP spid="48" grpId="0" animBg="1"/>
      <p:bldP spid="49" grpId="0" animBg="1"/>
      <p:bldP spid="54" grpId="0"/>
      <p:bldP spid="5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C4335FAC-FD00-40C5-A6D8-206FEC2616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34ABA11-9DA7-4A30-B756-B4CDCA30681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4291" y="821802"/>
            <a:ext cx="5932025" cy="5932025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E20E13C6-DA20-4F75-87DC-6765B3CBCC1B}"/>
              </a:ext>
            </a:extLst>
          </p:cNvPr>
          <p:cNvSpPr txBox="1"/>
          <p:nvPr/>
        </p:nvSpPr>
        <p:spPr>
          <a:xfrm>
            <a:off x="1214548" y="3500829"/>
            <a:ext cx="3994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b="1" dirty="0">
                <a:solidFill>
                  <a:srgbClr val="0D3787"/>
                </a:solidFill>
                <a:cs typeface="+mn-ea"/>
                <a:sym typeface="+mn-lt"/>
              </a:rPr>
              <a:t>PART FOUR</a:t>
            </a:r>
            <a:endParaRPr lang="zh-CN" altLang="en-US" sz="4800" b="1" dirty="0"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C7176937-2DCB-42A7-B005-E35BE77C9737}"/>
              </a:ext>
            </a:extLst>
          </p:cNvPr>
          <p:cNvSpPr txBox="1"/>
          <p:nvPr/>
        </p:nvSpPr>
        <p:spPr>
          <a:xfrm>
            <a:off x="1499049" y="4564873"/>
            <a:ext cx="2295615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rgbClr val="6C79BA"/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rgbClr val="6C79BA"/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rgbClr val="6C79BA"/>
                </a:solidFill>
                <a:cs typeface="+mn-ea"/>
                <a:sym typeface="+mn-lt"/>
              </a:rPr>
              <a:t> Synergistically utilize technically sound</a:t>
            </a:r>
          </a:p>
        </p:txBody>
      </p:sp>
      <p:sp>
        <p:nvSpPr>
          <p:cNvPr id="10" name="îṧ1ïḋé">
            <a:extLst>
              <a:ext uri="{FF2B5EF4-FFF2-40B4-BE49-F238E27FC236}">
                <a16:creationId xmlns:a16="http://schemas.microsoft.com/office/drawing/2014/main" id="{B5AA5A13-C86E-4C8D-892A-E7CB32ABCC28}"/>
              </a:ext>
            </a:extLst>
          </p:cNvPr>
          <p:cNvSpPr/>
          <p:nvPr/>
        </p:nvSpPr>
        <p:spPr>
          <a:xfrm>
            <a:off x="6290047" y="1778603"/>
            <a:ext cx="2001014" cy="3693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dist" defTabSz="914400"/>
            <a:r>
              <a:rPr lang="en-US" altLang="zh-CN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11" name="îṧ1ïḋé">
            <a:extLst>
              <a:ext uri="{FF2B5EF4-FFF2-40B4-BE49-F238E27FC236}">
                <a16:creationId xmlns:a16="http://schemas.microsoft.com/office/drawing/2014/main" id="{E2B097BA-B194-42C3-945F-386A7AFB144D}"/>
              </a:ext>
            </a:extLst>
          </p:cNvPr>
          <p:cNvSpPr/>
          <p:nvPr/>
        </p:nvSpPr>
        <p:spPr>
          <a:xfrm>
            <a:off x="669362" y="5894083"/>
            <a:ext cx="1402506" cy="369332"/>
          </a:xfrm>
          <a:prstGeom prst="roundRect">
            <a:avLst>
              <a:gd name="adj" fmla="val 50000"/>
            </a:avLst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dist" defTabSz="914400"/>
            <a:r>
              <a:rPr lang="en-US" altLang="zh-CN" sz="1050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17" name="Google Shape;537;p25">
            <a:extLst>
              <a:ext uri="{FF2B5EF4-FFF2-40B4-BE49-F238E27FC236}">
                <a16:creationId xmlns:a16="http://schemas.microsoft.com/office/drawing/2014/main" id="{1B5B09E6-268C-4B46-B540-347AB4A2DA78}"/>
              </a:ext>
            </a:extLst>
          </p:cNvPr>
          <p:cNvSpPr/>
          <p:nvPr/>
        </p:nvSpPr>
        <p:spPr>
          <a:xfrm rot="9266724">
            <a:off x="1040517" y="3729707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18" name="Google Shape;537;p25">
            <a:extLst>
              <a:ext uri="{FF2B5EF4-FFF2-40B4-BE49-F238E27FC236}">
                <a16:creationId xmlns:a16="http://schemas.microsoft.com/office/drawing/2014/main" id="{64B96D6A-0797-43A8-8899-A198C70273FF}"/>
              </a:ext>
            </a:extLst>
          </p:cNvPr>
          <p:cNvSpPr/>
          <p:nvPr/>
        </p:nvSpPr>
        <p:spPr>
          <a:xfrm rot="9266724">
            <a:off x="1040518" y="4129346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19" name="Google Shape;537;p25">
            <a:extLst>
              <a:ext uri="{FF2B5EF4-FFF2-40B4-BE49-F238E27FC236}">
                <a16:creationId xmlns:a16="http://schemas.microsoft.com/office/drawing/2014/main" id="{ED1E0558-0E69-4E53-AA22-626E687EFDF4}"/>
              </a:ext>
            </a:extLst>
          </p:cNvPr>
          <p:cNvSpPr/>
          <p:nvPr/>
        </p:nvSpPr>
        <p:spPr>
          <a:xfrm rot="9266724">
            <a:off x="1035455" y="4497491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1E3B8DD1-2F92-4F83-8407-FDB8D761047C}"/>
              </a:ext>
            </a:extLst>
          </p:cNvPr>
          <p:cNvGrpSpPr/>
          <p:nvPr/>
        </p:nvGrpSpPr>
        <p:grpSpPr>
          <a:xfrm rot="5400000">
            <a:off x="2021183" y="1062538"/>
            <a:ext cx="101370" cy="1330760"/>
            <a:chOff x="508216" y="2820579"/>
            <a:chExt cx="196770" cy="2583143"/>
          </a:xfrm>
          <a:solidFill>
            <a:srgbClr val="6C79BA"/>
          </a:solidFill>
        </p:grpSpPr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6DBCC032-C228-4F00-8BC9-6ABB576FCEF8}"/>
                </a:ext>
              </a:extLst>
            </p:cNvPr>
            <p:cNvSpPr/>
            <p:nvPr/>
          </p:nvSpPr>
          <p:spPr>
            <a:xfrm>
              <a:off x="508217" y="2820579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22" name="直接连接符 21">
              <a:extLst>
                <a:ext uri="{FF2B5EF4-FFF2-40B4-BE49-F238E27FC236}">
                  <a16:creationId xmlns:a16="http://schemas.microsoft.com/office/drawing/2014/main" id="{E4D16014-6217-45B2-BCF4-4920A867A4E0}"/>
                </a:ext>
              </a:extLst>
            </p:cNvPr>
            <p:cNvCxnSpPr/>
            <p:nvPr/>
          </p:nvCxnSpPr>
          <p:spPr>
            <a:xfrm>
              <a:off x="606601" y="3222594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C1AF9D28-6155-4F6A-B7ED-1E6CEAA00082}"/>
                </a:ext>
              </a:extLst>
            </p:cNvPr>
            <p:cNvSpPr/>
            <p:nvPr/>
          </p:nvSpPr>
          <p:spPr>
            <a:xfrm>
              <a:off x="508216" y="4013766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24" name="直接连接符 23">
              <a:extLst>
                <a:ext uri="{FF2B5EF4-FFF2-40B4-BE49-F238E27FC236}">
                  <a16:creationId xmlns:a16="http://schemas.microsoft.com/office/drawing/2014/main" id="{E8474D1B-8FBF-46CF-A281-929109FC8004}"/>
                </a:ext>
              </a:extLst>
            </p:cNvPr>
            <p:cNvCxnSpPr/>
            <p:nvPr/>
          </p:nvCxnSpPr>
          <p:spPr>
            <a:xfrm>
              <a:off x="606600" y="4415781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椭圆 24">
              <a:extLst>
                <a:ext uri="{FF2B5EF4-FFF2-40B4-BE49-F238E27FC236}">
                  <a16:creationId xmlns:a16="http://schemas.microsoft.com/office/drawing/2014/main" id="{26D179B6-2BD4-4139-BD98-D13AAE8269DB}"/>
                </a:ext>
              </a:extLst>
            </p:cNvPr>
            <p:cNvSpPr/>
            <p:nvPr/>
          </p:nvSpPr>
          <p:spPr>
            <a:xfrm>
              <a:off x="508216" y="5206953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2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D572736F-DD32-4722-A86F-D5529A5B60F6}"/>
              </a:ext>
            </a:extLst>
          </p:cNvPr>
          <p:cNvSpPr txBox="1"/>
          <p:nvPr/>
        </p:nvSpPr>
        <p:spPr>
          <a:xfrm>
            <a:off x="1417897" y="1049503"/>
            <a:ext cx="1307939" cy="3991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600" kern="0" dirty="0">
                <a:solidFill>
                  <a:srgbClr val="6C79BA"/>
                </a:solidFill>
                <a:cs typeface="+mn-ea"/>
                <a:sym typeface="+mn-lt"/>
              </a:rPr>
              <a:t>Synergistically utilize technically sound portals with frictionless </a:t>
            </a:r>
            <a:r>
              <a:rPr sz="600" kern="0" dirty="0" err="1">
                <a:solidFill>
                  <a:srgbClr val="6C79BA"/>
                </a:solidFill>
                <a:cs typeface="+mn-ea"/>
                <a:sym typeface="+mn-lt"/>
              </a:rPr>
              <a:t>chains</a:t>
            </a:r>
            <a:r>
              <a:rPr lang="en-US" altLang="zh-CN" sz="600" kern="0" dirty="0" err="1">
                <a:solidFill>
                  <a:srgbClr val="6C79BA"/>
                </a:solidFill>
                <a:cs typeface="+mn-ea"/>
                <a:sym typeface="+mn-lt"/>
              </a:rPr>
              <a:t>Synergistically</a:t>
            </a:r>
            <a:endParaRPr lang="en-US" altLang="zh-CN" sz="600" kern="0" dirty="0">
              <a:solidFill>
                <a:srgbClr val="6C79BA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4366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  <p:bldP spid="11" grpId="0"/>
      <p:bldP spid="2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A2DCA1-6A7D-46A7-A89B-769FC3023D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A2DCA1-6A7D-46A7-A89B-769FC3023D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6" name="TextBox 125">
            <a:extLst>
              <a:ext uri="{FF2B5EF4-FFF2-40B4-BE49-F238E27FC236}">
                <a16:creationId xmlns:a16="http://schemas.microsoft.com/office/drawing/2014/main" id="{3AEF0D66-648A-4DFD-927D-9284DF5BC822}"/>
              </a:ext>
            </a:extLst>
          </p:cNvPr>
          <p:cNvSpPr txBox="1"/>
          <p:nvPr/>
        </p:nvSpPr>
        <p:spPr>
          <a:xfrm>
            <a:off x="2467451" y="2045001"/>
            <a:ext cx="2262251" cy="4812998"/>
          </a:xfrm>
          <a:custGeom>
            <a:avLst/>
            <a:gdLst>
              <a:gd name="connsiteX0" fmla="*/ 1085345 w 2984457"/>
              <a:gd name="connsiteY0" fmla="*/ 598 h 4995502"/>
              <a:gd name="connsiteX1" fmla="*/ 2722363 w 2984457"/>
              <a:gd name="connsiteY1" fmla="*/ 990627 h 4995502"/>
              <a:gd name="connsiteX2" fmla="*/ 2355571 w 2984457"/>
              <a:gd name="connsiteY2" fmla="*/ 3330998 h 4995502"/>
              <a:gd name="connsiteX3" fmla="*/ 2970579 w 2984457"/>
              <a:gd name="connsiteY3" fmla="*/ 4901878 h 4995502"/>
              <a:gd name="connsiteX4" fmla="*/ 2946894 w 2984457"/>
              <a:gd name="connsiteY4" fmla="*/ 4995502 h 4995502"/>
              <a:gd name="connsiteX5" fmla="*/ 0 w 2984457"/>
              <a:gd name="connsiteY5" fmla="*/ 4995502 h 4995502"/>
              <a:gd name="connsiteX6" fmla="*/ 0 w 2984457"/>
              <a:gd name="connsiteY6" fmla="*/ 12497 h 4995502"/>
              <a:gd name="connsiteX7" fmla="*/ 85017 w 2984457"/>
              <a:gd name="connsiteY7" fmla="*/ 34489 h 4995502"/>
              <a:gd name="connsiteX8" fmla="*/ 377167 w 2984457"/>
              <a:gd name="connsiteY8" fmla="*/ 46323 h 4995502"/>
              <a:gd name="connsiteX9" fmla="*/ 1085345 w 2984457"/>
              <a:gd name="connsiteY9" fmla="*/ 598 h 4995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84457" h="4995502">
                <a:moveTo>
                  <a:pt x="1085345" y="598"/>
                </a:moveTo>
                <a:cubicBezTo>
                  <a:pt x="1712384" y="11961"/>
                  <a:pt x="2476903" y="190804"/>
                  <a:pt x="2722363" y="990627"/>
                </a:cubicBezTo>
                <a:cubicBezTo>
                  <a:pt x="3116952" y="2529811"/>
                  <a:pt x="1884934" y="2208758"/>
                  <a:pt x="2355571" y="3330998"/>
                </a:cubicBezTo>
                <a:cubicBezTo>
                  <a:pt x="2596549" y="3864939"/>
                  <a:pt x="3071549" y="4329900"/>
                  <a:pt x="2970579" y="4901878"/>
                </a:cubicBezTo>
                <a:lnTo>
                  <a:pt x="2946894" y="4995502"/>
                </a:lnTo>
                <a:lnTo>
                  <a:pt x="0" y="4995502"/>
                </a:lnTo>
                <a:lnTo>
                  <a:pt x="0" y="12497"/>
                </a:lnTo>
                <a:lnTo>
                  <a:pt x="85017" y="34489"/>
                </a:lnTo>
                <a:cubicBezTo>
                  <a:pt x="180177" y="54144"/>
                  <a:pt x="277535" y="59134"/>
                  <a:pt x="377167" y="46323"/>
                </a:cubicBezTo>
                <a:cubicBezTo>
                  <a:pt x="543716" y="24871"/>
                  <a:pt x="800328" y="-4567"/>
                  <a:pt x="1085345" y="598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  <a:defRPr>
                <a:solidFill>
                  <a:prstClr val="white"/>
                </a:solidFill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latin typeface="+mn-lt"/>
              <a:cs typeface="+mn-ea"/>
              <a:sym typeface="+mn-lt"/>
            </a:endParaRPr>
          </a:p>
        </p:txBody>
      </p:sp>
      <p:sp>
        <p:nvSpPr>
          <p:cNvPr id="115" name="Graphic 113">
            <a:extLst>
              <a:ext uri="{FF2B5EF4-FFF2-40B4-BE49-F238E27FC236}">
                <a16:creationId xmlns:a16="http://schemas.microsoft.com/office/drawing/2014/main" id="{ED0F79AF-D719-4434-B8B8-C6BAD906CCE4}"/>
              </a:ext>
            </a:extLst>
          </p:cNvPr>
          <p:cNvSpPr/>
          <p:nvPr/>
        </p:nvSpPr>
        <p:spPr>
          <a:xfrm rot="16200000" flipH="1" flipV="1">
            <a:off x="-1050259" y="1343683"/>
            <a:ext cx="6568751" cy="4459883"/>
          </a:xfrm>
          <a:custGeom>
            <a:avLst/>
            <a:gdLst>
              <a:gd name="connsiteX0" fmla="*/ 176625 w 6624627"/>
              <a:gd name="connsiteY0" fmla="*/ 4054192 h 4054192"/>
              <a:gd name="connsiteX1" fmla="*/ 329169 w 6624627"/>
              <a:gd name="connsiteY1" fmla="*/ 3152662 h 4054192"/>
              <a:gd name="connsiteX2" fmla="*/ 1355785 w 6624627"/>
              <a:gd name="connsiteY2" fmla="*/ 2000960 h 4054192"/>
              <a:gd name="connsiteX3" fmla="*/ 2650877 w 6624627"/>
              <a:gd name="connsiteY3" fmla="*/ 4169 h 4054192"/>
              <a:gd name="connsiteX4" fmla="*/ 4725464 w 6624627"/>
              <a:gd name="connsiteY4" fmla="*/ 779089 h 4054192"/>
              <a:gd name="connsiteX5" fmla="*/ 6624628 w 6624627"/>
              <a:gd name="connsiteY5" fmla="*/ 737902 h 4054192"/>
              <a:gd name="connsiteX6" fmla="*/ 6624628 w 6624627"/>
              <a:gd name="connsiteY6" fmla="*/ 4054192 h 4054192"/>
              <a:gd name="connsiteX7" fmla="*/ 176625 w 6624627"/>
              <a:gd name="connsiteY7" fmla="*/ 4054192 h 4054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24627" h="4054192">
                <a:moveTo>
                  <a:pt x="176625" y="4054192"/>
                </a:moveTo>
                <a:cubicBezTo>
                  <a:pt x="176625" y="4054192"/>
                  <a:pt x="-308462" y="3605715"/>
                  <a:pt x="329169" y="3152662"/>
                </a:cubicBezTo>
                <a:cubicBezTo>
                  <a:pt x="834087" y="2856728"/>
                  <a:pt x="1320700" y="2505879"/>
                  <a:pt x="1355785" y="2000960"/>
                </a:cubicBezTo>
                <a:cubicBezTo>
                  <a:pt x="1390869" y="1494517"/>
                  <a:pt x="1520531" y="118577"/>
                  <a:pt x="2650877" y="4169"/>
                </a:cubicBezTo>
                <a:cubicBezTo>
                  <a:pt x="4132071" y="-75153"/>
                  <a:pt x="3611899" y="1006379"/>
                  <a:pt x="4725464" y="779089"/>
                </a:cubicBezTo>
                <a:cubicBezTo>
                  <a:pt x="5381400" y="626546"/>
                  <a:pt x="6006828" y="126204"/>
                  <a:pt x="6624628" y="737902"/>
                </a:cubicBezTo>
                <a:lnTo>
                  <a:pt x="6624628" y="4054192"/>
                </a:lnTo>
                <a:lnTo>
                  <a:pt x="176625" y="4054192"/>
                </a:ln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63306E81-2534-46C9-B0C9-8AEE8F3E7140}"/>
              </a:ext>
            </a:extLst>
          </p:cNvPr>
          <p:cNvSpPr txBox="1"/>
          <p:nvPr/>
        </p:nvSpPr>
        <p:spPr>
          <a:xfrm rot="10800000" flipV="1">
            <a:off x="8350041" y="0"/>
            <a:ext cx="3841959" cy="2809875"/>
          </a:xfrm>
          <a:custGeom>
            <a:avLst/>
            <a:gdLst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54452"/>
              <a:gd name="connsiteX1" fmla="*/ 6674304 w 6674304"/>
              <a:gd name="connsiteY1" fmla="*/ 0 h 5954452"/>
              <a:gd name="connsiteX2" fmla="*/ 6672463 w 6674304"/>
              <a:gd name="connsiteY2" fmla="*/ 3528 h 5954452"/>
              <a:gd name="connsiteX3" fmla="*/ 6142663 w 6674304"/>
              <a:gd name="connsiteY3" fmla="*/ 1686835 h 5954452"/>
              <a:gd name="connsiteX4" fmla="*/ 4132917 w 6674304"/>
              <a:gd name="connsiteY4" fmla="*/ 2753737 h 5954452"/>
              <a:gd name="connsiteX5" fmla="*/ 3289320 w 6674304"/>
              <a:gd name="connsiteY5" fmla="*/ 4862728 h 5954452"/>
              <a:gd name="connsiteX6" fmla="*/ 1763402 w 6674304"/>
              <a:gd name="connsiteY6" fmla="*/ 5954443 h 5954452"/>
              <a:gd name="connsiteX7" fmla="*/ 63803 w 6674304"/>
              <a:gd name="connsiteY7" fmla="*/ 5470616 h 5954452"/>
              <a:gd name="connsiteX8" fmla="*/ 0 w 6674304"/>
              <a:gd name="connsiteY8" fmla="*/ 5467195 h 5954452"/>
              <a:gd name="connsiteX9" fmla="*/ 0 w 6674304"/>
              <a:gd name="connsiteY9" fmla="*/ 0 h 5954452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323857 w 6674304"/>
              <a:gd name="connsiteY5" fmla="*/ 488071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7613"/>
              <a:gd name="connsiteX1" fmla="*/ 6674304 w 6674304"/>
              <a:gd name="connsiteY1" fmla="*/ 0 h 5957613"/>
              <a:gd name="connsiteX2" fmla="*/ 6672463 w 6674304"/>
              <a:gd name="connsiteY2" fmla="*/ 3528 h 5957613"/>
              <a:gd name="connsiteX3" fmla="*/ 6142663 w 6674304"/>
              <a:gd name="connsiteY3" fmla="*/ 1686835 h 5957613"/>
              <a:gd name="connsiteX4" fmla="*/ 4132917 w 6674304"/>
              <a:gd name="connsiteY4" fmla="*/ 2753737 h 5957613"/>
              <a:gd name="connsiteX5" fmla="*/ 3323857 w 6674304"/>
              <a:gd name="connsiteY5" fmla="*/ 4880718 h 5957613"/>
              <a:gd name="connsiteX6" fmla="*/ 1763402 w 6674304"/>
              <a:gd name="connsiteY6" fmla="*/ 5954443 h 5957613"/>
              <a:gd name="connsiteX7" fmla="*/ 63803 w 6674304"/>
              <a:gd name="connsiteY7" fmla="*/ 5470616 h 5957613"/>
              <a:gd name="connsiteX8" fmla="*/ 0 w 6674304"/>
              <a:gd name="connsiteY8" fmla="*/ 5467195 h 5957613"/>
              <a:gd name="connsiteX9" fmla="*/ 0 w 6674304"/>
              <a:gd name="connsiteY9" fmla="*/ 0 h 5957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74304" h="5957613">
                <a:moveTo>
                  <a:pt x="0" y="0"/>
                </a:moveTo>
                <a:lnTo>
                  <a:pt x="6674304" y="0"/>
                </a:lnTo>
                <a:lnTo>
                  <a:pt x="6672463" y="3528"/>
                </a:lnTo>
                <a:cubicBezTo>
                  <a:pt x="6485641" y="423111"/>
                  <a:pt x="6718539" y="1011007"/>
                  <a:pt x="6142663" y="1686835"/>
                </a:cubicBezTo>
                <a:cubicBezTo>
                  <a:pt x="5728792" y="2172540"/>
                  <a:pt x="4602718" y="2221423"/>
                  <a:pt x="4132917" y="2753737"/>
                </a:cubicBezTo>
                <a:cubicBezTo>
                  <a:pt x="3663116" y="3286051"/>
                  <a:pt x="3658337" y="4266313"/>
                  <a:pt x="3323857" y="4880718"/>
                </a:cubicBezTo>
                <a:cubicBezTo>
                  <a:pt x="2989377" y="5495123"/>
                  <a:pt x="2577285" y="5862125"/>
                  <a:pt x="1763402" y="5954443"/>
                </a:cubicBezTo>
                <a:cubicBezTo>
                  <a:pt x="1230133" y="6001788"/>
                  <a:pt x="551766" y="5503698"/>
                  <a:pt x="63803" y="5470616"/>
                </a:cubicBezTo>
                <a:lnTo>
                  <a:pt x="0" y="5467195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0" marR="0" lvl="1" indent="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latin typeface="+mn-lt"/>
              <a:cs typeface="+mn-ea"/>
              <a:sym typeface="+mn-lt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A542D7DD-9479-48A0-BE77-833E70F275EE}"/>
              </a:ext>
            </a:extLst>
          </p:cNvPr>
          <p:cNvSpPr txBox="1"/>
          <p:nvPr/>
        </p:nvSpPr>
        <p:spPr>
          <a:xfrm>
            <a:off x="11189845" y="5971542"/>
            <a:ext cx="1002154" cy="886457"/>
          </a:xfrm>
          <a:custGeom>
            <a:avLst/>
            <a:gdLst>
              <a:gd name="connsiteX0" fmla="*/ 1432902 w 1432902"/>
              <a:gd name="connsiteY0" fmla="*/ 0 h 1267476"/>
              <a:gd name="connsiteX1" fmla="*/ 1432902 w 1432902"/>
              <a:gd name="connsiteY1" fmla="*/ 1267476 h 1267476"/>
              <a:gd name="connsiteX2" fmla="*/ 0 w 1432902"/>
              <a:gd name="connsiteY2" fmla="*/ 1267476 h 1267476"/>
              <a:gd name="connsiteX3" fmla="*/ 31959 w 1432902"/>
              <a:gd name="connsiteY3" fmla="*/ 1217370 h 1267476"/>
              <a:gd name="connsiteX4" fmla="*/ 1076969 w 1432902"/>
              <a:gd name="connsiteY4" fmla="*/ 661355 h 1267476"/>
              <a:gd name="connsiteX5" fmla="*/ 1420932 w 1432902"/>
              <a:gd name="connsiteY5" fmla="*/ 30241 h 126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32902" h="1267476">
                <a:moveTo>
                  <a:pt x="1432902" y="0"/>
                </a:moveTo>
                <a:lnTo>
                  <a:pt x="1432902" y="1267476"/>
                </a:lnTo>
                <a:lnTo>
                  <a:pt x="0" y="1267476"/>
                </a:lnTo>
                <a:lnTo>
                  <a:pt x="31959" y="1217370"/>
                </a:lnTo>
                <a:cubicBezTo>
                  <a:pt x="318740" y="823323"/>
                  <a:pt x="833290" y="872666"/>
                  <a:pt x="1076969" y="661355"/>
                </a:cubicBezTo>
                <a:cubicBezTo>
                  <a:pt x="1235401" y="523969"/>
                  <a:pt x="1325734" y="278922"/>
                  <a:pt x="1420932" y="30241"/>
                </a:cubicBezTo>
                <a:close/>
              </a:path>
            </a:pathLst>
          </a:custGeom>
          <a:gradFill>
            <a:gsLst>
              <a:gs pos="10000">
                <a:schemeClr val="bg1">
                  <a:lumMod val="85000"/>
                  <a:alpha val="10000"/>
                </a:schemeClr>
              </a:gs>
              <a:gs pos="100000">
                <a:schemeClr val="bg1">
                  <a:lumMod val="95000"/>
                  <a:alpha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0" lvl="1" indent="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F0F43D88-7132-4834-A0CB-DC04939A2D34}"/>
              </a:ext>
            </a:extLst>
          </p:cNvPr>
          <p:cNvSpPr txBox="1"/>
          <p:nvPr/>
        </p:nvSpPr>
        <p:spPr>
          <a:xfrm>
            <a:off x="7132529" y="1404938"/>
            <a:ext cx="278677" cy="278677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15EB6D2D-726F-488C-99B2-96F28A6A4260}"/>
              </a:ext>
            </a:extLst>
          </p:cNvPr>
          <p:cNvSpPr txBox="1"/>
          <p:nvPr/>
        </p:nvSpPr>
        <p:spPr>
          <a:xfrm>
            <a:off x="458558" y="6136093"/>
            <a:ext cx="278677" cy="278677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AF11555F-E76E-4502-B030-3EE7D83A5BC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6685" y="375920"/>
            <a:ext cx="6858000" cy="6858000"/>
          </a:xfrm>
          <a:prstGeom prst="rect">
            <a:avLst/>
          </a:prstGeom>
        </p:spPr>
      </p:pic>
      <p:sp>
        <p:nvSpPr>
          <p:cNvPr id="11" name="Google Shape;2062;p40">
            <a:extLst>
              <a:ext uri="{FF2B5EF4-FFF2-40B4-BE49-F238E27FC236}">
                <a16:creationId xmlns:a16="http://schemas.microsoft.com/office/drawing/2014/main" id="{BBDA707C-98A8-4F61-A96E-D1D0D36E6DDD}"/>
              </a:ext>
            </a:extLst>
          </p:cNvPr>
          <p:cNvSpPr/>
          <p:nvPr/>
        </p:nvSpPr>
        <p:spPr>
          <a:xfrm>
            <a:off x="1253485" y="1731557"/>
            <a:ext cx="3933200" cy="9312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" dirty="0">
                <a:cs typeface="+mn-ea"/>
                <a:sym typeface="+mn-lt"/>
              </a:rPr>
              <a:t> </a:t>
            </a:r>
            <a:endParaRPr dirty="0">
              <a:cs typeface="+mn-ea"/>
              <a:sym typeface="+mn-lt"/>
            </a:endParaRPr>
          </a:p>
        </p:txBody>
      </p:sp>
      <p:sp>
        <p:nvSpPr>
          <p:cNvPr id="12" name="Google Shape;2063;p40">
            <a:extLst>
              <a:ext uri="{FF2B5EF4-FFF2-40B4-BE49-F238E27FC236}">
                <a16:creationId xmlns:a16="http://schemas.microsoft.com/office/drawing/2014/main" id="{DA788ADA-EFDB-4297-A86F-AD6E320C4C77}"/>
              </a:ext>
            </a:extLst>
          </p:cNvPr>
          <p:cNvSpPr/>
          <p:nvPr/>
        </p:nvSpPr>
        <p:spPr>
          <a:xfrm>
            <a:off x="1253485" y="3161457"/>
            <a:ext cx="3933200" cy="9312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" dirty="0">
                <a:cs typeface="+mn-ea"/>
                <a:sym typeface="+mn-lt"/>
              </a:rPr>
              <a:t> </a:t>
            </a:r>
            <a:endParaRPr dirty="0">
              <a:cs typeface="+mn-ea"/>
              <a:sym typeface="+mn-lt"/>
            </a:endParaRPr>
          </a:p>
        </p:txBody>
      </p:sp>
      <p:sp>
        <p:nvSpPr>
          <p:cNvPr id="13" name="Google Shape;2064;p40">
            <a:extLst>
              <a:ext uri="{FF2B5EF4-FFF2-40B4-BE49-F238E27FC236}">
                <a16:creationId xmlns:a16="http://schemas.microsoft.com/office/drawing/2014/main" id="{399353B5-066A-449D-882D-2BEFF36BD629}"/>
              </a:ext>
            </a:extLst>
          </p:cNvPr>
          <p:cNvSpPr/>
          <p:nvPr/>
        </p:nvSpPr>
        <p:spPr>
          <a:xfrm>
            <a:off x="1253485" y="4591357"/>
            <a:ext cx="3933200" cy="9312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" dirty="0">
                <a:cs typeface="+mn-ea"/>
                <a:sym typeface="+mn-lt"/>
              </a:rPr>
              <a:t> </a:t>
            </a:r>
            <a:endParaRPr dirty="0">
              <a:cs typeface="+mn-ea"/>
              <a:sym typeface="+mn-lt"/>
            </a:endParaRPr>
          </a:p>
        </p:txBody>
      </p:sp>
      <p:sp>
        <p:nvSpPr>
          <p:cNvPr id="14" name="Google Shape;2068;p40">
            <a:extLst>
              <a:ext uri="{FF2B5EF4-FFF2-40B4-BE49-F238E27FC236}">
                <a16:creationId xmlns:a16="http://schemas.microsoft.com/office/drawing/2014/main" id="{BAA052C5-6515-49D4-909D-6164CFC82524}"/>
              </a:ext>
            </a:extLst>
          </p:cNvPr>
          <p:cNvSpPr/>
          <p:nvPr/>
        </p:nvSpPr>
        <p:spPr>
          <a:xfrm>
            <a:off x="1412136" y="4784741"/>
            <a:ext cx="544400" cy="5444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" dirty="0">
                <a:cs typeface="+mn-ea"/>
                <a:sym typeface="+mn-lt"/>
              </a:rPr>
              <a:t>C</a:t>
            </a:r>
            <a:endParaRPr dirty="0">
              <a:cs typeface="+mn-ea"/>
              <a:sym typeface="+mn-lt"/>
            </a:endParaRPr>
          </a:p>
        </p:txBody>
      </p:sp>
      <p:sp>
        <p:nvSpPr>
          <p:cNvPr id="15" name="Google Shape;2069;p40">
            <a:extLst>
              <a:ext uri="{FF2B5EF4-FFF2-40B4-BE49-F238E27FC236}">
                <a16:creationId xmlns:a16="http://schemas.microsoft.com/office/drawing/2014/main" id="{0549DBBC-7401-4A77-97C0-632EE4690F8F}"/>
              </a:ext>
            </a:extLst>
          </p:cNvPr>
          <p:cNvSpPr/>
          <p:nvPr/>
        </p:nvSpPr>
        <p:spPr>
          <a:xfrm>
            <a:off x="1412136" y="1924957"/>
            <a:ext cx="544400" cy="5444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">
                <a:cs typeface="+mn-ea"/>
                <a:sym typeface="+mn-lt"/>
              </a:rPr>
              <a:t>A</a:t>
            </a:r>
            <a:endParaRPr>
              <a:cs typeface="+mn-ea"/>
              <a:sym typeface="+mn-lt"/>
            </a:endParaRPr>
          </a:p>
        </p:txBody>
      </p:sp>
      <p:sp>
        <p:nvSpPr>
          <p:cNvPr id="16" name="Google Shape;2070;p40">
            <a:extLst>
              <a:ext uri="{FF2B5EF4-FFF2-40B4-BE49-F238E27FC236}">
                <a16:creationId xmlns:a16="http://schemas.microsoft.com/office/drawing/2014/main" id="{5F11B3AF-504F-4E54-AD17-C6BD27E3EA1D}"/>
              </a:ext>
            </a:extLst>
          </p:cNvPr>
          <p:cNvSpPr/>
          <p:nvPr/>
        </p:nvSpPr>
        <p:spPr>
          <a:xfrm>
            <a:off x="1412136" y="3358608"/>
            <a:ext cx="544400" cy="5444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" dirty="0">
                <a:cs typeface="+mn-ea"/>
                <a:sym typeface="+mn-lt"/>
              </a:rPr>
              <a:t>B</a:t>
            </a:r>
            <a:endParaRPr dirty="0">
              <a:cs typeface="+mn-ea"/>
              <a:sym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8B5C1081-97C5-4090-A752-58A3EF43C993}"/>
              </a:ext>
            </a:extLst>
          </p:cNvPr>
          <p:cNvSpPr txBox="1"/>
          <p:nvPr/>
        </p:nvSpPr>
        <p:spPr>
          <a:xfrm>
            <a:off x="1521471" y="2012490"/>
            <a:ext cx="253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973B9E"/>
                </a:solidFill>
                <a:cs typeface="+mn-ea"/>
                <a:sym typeface="+mn-lt"/>
              </a:rPr>
              <a:t> </a:t>
            </a:r>
            <a:endParaRPr lang="zh-CN" altLang="en-US" dirty="0">
              <a:solidFill>
                <a:srgbClr val="973B9E"/>
              </a:solidFill>
              <a:cs typeface="+mn-ea"/>
              <a:sym typeface="+mn-lt"/>
            </a:endParaRPr>
          </a:p>
        </p:txBody>
      </p:sp>
      <p:sp>
        <p:nvSpPr>
          <p:cNvPr id="20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C5FCDC21-991F-462B-B0C2-995C80674808}"/>
              </a:ext>
            </a:extLst>
          </p:cNvPr>
          <p:cNvSpPr txBox="1"/>
          <p:nvPr/>
        </p:nvSpPr>
        <p:spPr>
          <a:xfrm>
            <a:off x="2202863" y="1967734"/>
            <a:ext cx="2565582" cy="4779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v="urn:schemas-microsoft-com:vml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</a:t>
            </a:r>
          </a:p>
        </p:txBody>
      </p:sp>
      <p:sp>
        <p:nvSpPr>
          <p:cNvPr id="21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373EDBF3-EF03-44D1-8736-D42124CD89EA}"/>
              </a:ext>
            </a:extLst>
          </p:cNvPr>
          <p:cNvSpPr txBox="1"/>
          <p:nvPr/>
        </p:nvSpPr>
        <p:spPr>
          <a:xfrm>
            <a:off x="2202863" y="3372422"/>
            <a:ext cx="2565582" cy="4779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v="urn:schemas-microsoft-com:vml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</a:t>
            </a:r>
          </a:p>
        </p:txBody>
      </p:sp>
      <p:sp>
        <p:nvSpPr>
          <p:cNvPr id="22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8688880C-F782-41B4-B641-3B4A98652045}"/>
              </a:ext>
            </a:extLst>
          </p:cNvPr>
          <p:cNvSpPr txBox="1"/>
          <p:nvPr/>
        </p:nvSpPr>
        <p:spPr>
          <a:xfrm>
            <a:off x="2202863" y="4791752"/>
            <a:ext cx="2565582" cy="4779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v="urn:schemas-microsoft-com:vml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</a:t>
            </a: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725B1DF7-A33E-461D-9DBB-FF10C57CC3B4}"/>
              </a:ext>
            </a:extLst>
          </p:cNvPr>
          <p:cNvGrpSpPr/>
          <p:nvPr/>
        </p:nvGrpSpPr>
        <p:grpSpPr>
          <a:xfrm>
            <a:off x="2376020" y="834506"/>
            <a:ext cx="2582174" cy="500937"/>
            <a:chOff x="423052" y="305730"/>
            <a:chExt cx="2582174" cy="500937"/>
          </a:xfrm>
          <a:gradFill>
            <a:gsLst>
              <a:gs pos="0">
                <a:srgbClr val="1669E0"/>
              </a:gs>
              <a:gs pos="100000">
                <a:srgbClr val="37A6FF"/>
              </a:gs>
            </a:gsLst>
            <a:lin ang="5400012" scaled="0"/>
          </a:gradFill>
        </p:grpSpPr>
        <p:sp>
          <p:nvSpPr>
            <p:cNvPr id="24" name="Rectangle: Rounded Corners 34">
              <a:extLst>
                <a:ext uri="{FF2B5EF4-FFF2-40B4-BE49-F238E27FC236}">
                  <a16:creationId xmlns:a16="http://schemas.microsoft.com/office/drawing/2014/main" id="{0DF16760-6A68-4045-A68B-BE6C7ABA27C4}"/>
                </a:ext>
              </a:extLst>
            </p:cNvPr>
            <p:cNvSpPr/>
            <p:nvPr/>
          </p:nvSpPr>
          <p:spPr>
            <a:xfrm>
              <a:off x="815816" y="305730"/>
              <a:ext cx="1830269" cy="50093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r>
                <a:rPr lang="en-US">
                  <a:solidFill>
                    <a:prstClr val="white"/>
                  </a:solidFill>
                  <a:cs typeface="+mn-ea"/>
                  <a:sym typeface="+mn-lt"/>
                </a:rPr>
                <a:t> </a:t>
              </a:r>
              <a:endParaRPr lang="en-US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5" name="iṩļïḓè">
              <a:extLst>
                <a:ext uri="{FF2B5EF4-FFF2-40B4-BE49-F238E27FC236}">
                  <a16:creationId xmlns:a16="http://schemas.microsoft.com/office/drawing/2014/main" id="{26C772BD-DBAD-48A2-B08D-E6D5E3868EDE}"/>
                </a:ext>
              </a:extLst>
            </p:cNvPr>
            <p:cNvSpPr txBox="1"/>
            <p:nvPr/>
          </p:nvSpPr>
          <p:spPr bwMode="auto">
            <a:xfrm>
              <a:off x="943549" y="407694"/>
              <a:ext cx="1534794" cy="33865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solidFill>
                    <a:prstClr val="white"/>
                  </a:solidFill>
                  <a:latin typeface="Calibri" panose="020F05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dist" defTabSz="914400"/>
              <a:r>
                <a:rPr lang="en-US" altLang="zh-CN" sz="1400" dirty="0">
                  <a:solidFill>
                    <a:srgbClr val="0F65B4"/>
                  </a:solidFill>
                  <a:cs typeface="+mn-ea"/>
                  <a:sym typeface="+mn-lt"/>
                </a:rPr>
                <a:t>Jpppt.com</a:t>
              </a:r>
            </a:p>
          </p:txBody>
        </p:sp>
        <p:sp>
          <p:nvSpPr>
            <p:cNvPr id="26" name="椭圆 25">
              <a:extLst>
                <a:ext uri="{FF2B5EF4-FFF2-40B4-BE49-F238E27FC236}">
                  <a16:creationId xmlns:a16="http://schemas.microsoft.com/office/drawing/2014/main" id="{4723DAC7-C760-4D48-9E38-87456036805F}"/>
                </a:ext>
              </a:extLst>
            </p:cNvPr>
            <p:cNvSpPr/>
            <p:nvPr/>
          </p:nvSpPr>
          <p:spPr>
            <a:xfrm>
              <a:off x="423052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7" name="椭圆 26">
              <a:extLst>
                <a:ext uri="{FF2B5EF4-FFF2-40B4-BE49-F238E27FC236}">
                  <a16:creationId xmlns:a16="http://schemas.microsoft.com/office/drawing/2014/main" id="{81210478-1C43-49D4-9BF8-404B13F422F1}"/>
                </a:ext>
              </a:extLst>
            </p:cNvPr>
            <p:cNvSpPr/>
            <p:nvPr/>
          </p:nvSpPr>
          <p:spPr>
            <a:xfrm>
              <a:off x="2800384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9867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v="urn:schemas-microsoft-com:vml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31">
            <a:extLst>
              <a:ext uri="{FF2B5EF4-FFF2-40B4-BE49-F238E27FC236}">
                <a16:creationId xmlns:a16="http://schemas.microsoft.com/office/drawing/2014/main" id="{E7FB9039-B1C0-49A1-A3BC-F55A9EA99967}"/>
              </a:ext>
            </a:extLst>
          </p:cNvPr>
          <p:cNvSpPr txBox="1"/>
          <p:nvPr/>
        </p:nvSpPr>
        <p:spPr>
          <a:xfrm rot="10800000" flipH="1">
            <a:off x="-20800" y="4080168"/>
            <a:ext cx="3841958" cy="2809874"/>
          </a:xfrm>
          <a:custGeom>
            <a:avLst/>
            <a:gdLst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54452"/>
              <a:gd name="connsiteX1" fmla="*/ 6674304 w 6674304"/>
              <a:gd name="connsiteY1" fmla="*/ 0 h 5954452"/>
              <a:gd name="connsiteX2" fmla="*/ 6672463 w 6674304"/>
              <a:gd name="connsiteY2" fmla="*/ 3528 h 5954452"/>
              <a:gd name="connsiteX3" fmla="*/ 6142663 w 6674304"/>
              <a:gd name="connsiteY3" fmla="*/ 1686835 h 5954452"/>
              <a:gd name="connsiteX4" fmla="*/ 4132917 w 6674304"/>
              <a:gd name="connsiteY4" fmla="*/ 2753737 h 5954452"/>
              <a:gd name="connsiteX5" fmla="*/ 3289320 w 6674304"/>
              <a:gd name="connsiteY5" fmla="*/ 4862728 h 5954452"/>
              <a:gd name="connsiteX6" fmla="*/ 1763402 w 6674304"/>
              <a:gd name="connsiteY6" fmla="*/ 5954443 h 5954452"/>
              <a:gd name="connsiteX7" fmla="*/ 63803 w 6674304"/>
              <a:gd name="connsiteY7" fmla="*/ 5470616 h 5954452"/>
              <a:gd name="connsiteX8" fmla="*/ 0 w 6674304"/>
              <a:gd name="connsiteY8" fmla="*/ 5467195 h 5954452"/>
              <a:gd name="connsiteX9" fmla="*/ 0 w 6674304"/>
              <a:gd name="connsiteY9" fmla="*/ 0 h 5954452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323857 w 6674304"/>
              <a:gd name="connsiteY5" fmla="*/ 488071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7613"/>
              <a:gd name="connsiteX1" fmla="*/ 6674304 w 6674304"/>
              <a:gd name="connsiteY1" fmla="*/ 0 h 5957613"/>
              <a:gd name="connsiteX2" fmla="*/ 6672463 w 6674304"/>
              <a:gd name="connsiteY2" fmla="*/ 3528 h 5957613"/>
              <a:gd name="connsiteX3" fmla="*/ 6142663 w 6674304"/>
              <a:gd name="connsiteY3" fmla="*/ 1686835 h 5957613"/>
              <a:gd name="connsiteX4" fmla="*/ 4132917 w 6674304"/>
              <a:gd name="connsiteY4" fmla="*/ 2753737 h 5957613"/>
              <a:gd name="connsiteX5" fmla="*/ 3323857 w 6674304"/>
              <a:gd name="connsiteY5" fmla="*/ 4880718 h 5957613"/>
              <a:gd name="connsiteX6" fmla="*/ 1763402 w 6674304"/>
              <a:gd name="connsiteY6" fmla="*/ 5954443 h 5957613"/>
              <a:gd name="connsiteX7" fmla="*/ 63803 w 6674304"/>
              <a:gd name="connsiteY7" fmla="*/ 5470616 h 5957613"/>
              <a:gd name="connsiteX8" fmla="*/ 0 w 6674304"/>
              <a:gd name="connsiteY8" fmla="*/ 5467195 h 5957613"/>
              <a:gd name="connsiteX9" fmla="*/ 0 w 6674304"/>
              <a:gd name="connsiteY9" fmla="*/ 0 h 5957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74304" h="5957613">
                <a:moveTo>
                  <a:pt x="0" y="0"/>
                </a:moveTo>
                <a:lnTo>
                  <a:pt x="6674304" y="0"/>
                </a:lnTo>
                <a:lnTo>
                  <a:pt x="6672463" y="3528"/>
                </a:lnTo>
                <a:cubicBezTo>
                  <a:pt x="6485641" y="423111"/>
                  <a:pt x="6718539" y="1011007"/>
                  <a:pt x="6142663" y="1686835"/>
                </a:cubicBezTo>
                <a:cubicBezTo>
                  <a:pt x="5728792" y="2172540"/>
                  <a:pt x="4602718" y="2221423"/>
                  <a:pt x="4132917" y="2753737"/>
                </a:cubicBezTo>
                <a:cubicBezTo>
                  <a:pt x="3663116" y="3286051"/>
                  <a:pt x="3658337" y="4266313"/>
                  <a:pt x="3323857" y="4880718"/>
                </a:cubicBezTo>
                <a:cubicBezTo>
                  <a:pt x="2989377" y="5495123"/>
                  <a:pt x="2577285" y="5862125"/>
                  <a:pt x="1763402" y="5954443"/>
                </a:cubicBezTo>
                <a:cubicBezTo>
                  <a:pt x="1230133" y="6001788"/>
                  <a:pt x="551766" y="5503698"/>
                  <a:pt x="63803" y="5470616"/>
                </a:cubicBezTo>
                <a:lnTo>
                  <a:pt x="0" y="5467195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0" marR="0" lvl="1" indent="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latin typeface="+mn-lt"/>
              <a:cs typeface="+mn-ea"/>
              <a:sym typeface="+mn-lt"/>
            </a:endParaRPr>
          </a:p>
        </p:txBody>
      </p:sp>
      <p:sp>
        <p:nvSpPr>
          <p:cNvPr id="26" name="Freeform: Shape 28">
            <a:extLst>
              <a:ext uri="{FF2B5EF4-FFF2-40B4-BE49-F238E27FC236}">
                <a16:creationId xmlns:a16="http://schemas.microsoft.com/office/drawing/2014/main" id="{BF709F12-0348-4592-B13A-EEAC8D372363}"/>
              </a:ext>
            </a:extLst>
          </p:cNvPr>
          <p:cNvSpPr/>
          <p:nvPr/>
        </p:nvSpPr>
        <p:spPr>
          <a:xfrm>
            <a:off x="5451676" y="0"/>
            <a:ext cx="6740324" cy="6858000"/>
          </a:xfrm>
          <a:custGeom>
            <a:avLst/>
            <a:gdLst>
              <a:gd name="connsiteX0" fmla="*/ 6050384 w 8632154"/>
              <a:gd name="connsiteY0" fmla="*/ 0 h 6858000"/>
              <a:gd name="connsiteX1" fmla="*/ 8632154 w 8632154"/>
              <a:gd name="connsiteY1" fmla="*/ 0 h 6858000"/>
              <a:gd name="connsiteX2" fmla="*/ 8632154 w 8632154"/>
              <a:gd name="connsiteY2" fmla="*/ 6858000 h 6858000"/>
              <a:gd name="connsiteX3" fmla="*/ 0 w 8632154"/>
              <a:gd name="connsiteY3" fmla="*/ 6858000 h 6858000"/>
              <a:gd name="connsiteX4" fmla="*/ 17136 w 8632154"/>
              <a:gd name="connsiteY4" fmla="*/ 6850412 h 6858000"/>
              <a:gd name="connsiteX5" fmla="*/ 1326096 w 8632154"/>
              <a:gd name="connsiteY5" fmla="*/ 5732390 h 6858000"/>
              <a:gd name="connsiteX6" fmla="*/ 2315345 w 8632154"/>
              <a:gd name="connsiteY6" fmla="*/ 3259269 h 6858000"/>
              <a:gd name="connsiteX7" fmla="*/ 4672086 w 8632154"/>
              <a:gd name="connsiteY7" fmla="*/ 2008159 h 6858000"/>
              <a:gd name="connsiteX8" fmla="*/ 5848499 w 8632154"/>
              <a:gd name="connsiteY8" fmla="*/ 9045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32154" h="6858000">
                <a:moveTo>
                  <a:pt x="6050384" y="0"/>
                </a:moveTo>
                <a:lnTo>
                  <a:pt x="8632154" y="0"/>
                </a:lnTo>
                <a:lnTo>
                  <a:pt x="8632154" y="6858000"/>
                </a:lnTo>
                <a:lnTo>
                  <a:pt x="0" y="6858000"/>
                </a:lnTo>
                <a:lnTo>
                  <a:pt x="17136" y="6850412"/>
                </a:lnTo>
                <a:cubicBezTo>
                  <a:pt x="500509" y="6620261"/>
                  <a:pt x="978767" y="6201556"/>
                  <a:pt x="1326096" y="5732390"/>
                </a:cubicBezTo>
                <a:cubicBezTo>
                  <a:pt x="1789202" y="5106837"/>
                  <a:pt x="1757679" y="3879973"/>
                  <a:pt x="2315345" y="3259269"/>
                </a:cubicBezTo>
                <a:cubicBezTo>
                  <a:pt x="2873010" y="2638564"/>
                  <a:pt x="4167763" y="2560976"/>
                  <a:pt x="4672086" y="2008159"/>
                </a:cubicBezTo>
                <a:cubicBezTo>
                  <a:pt x="5085790" y="1554678"/>
                  <a:pt x="4955167" y="563510"/>
                  <a:pt x="5848499" y="90459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7" name="Google Shape;1023;p41">
            <a:extLst>
              <a:ext uri="{FF2B5EF4-FFF2-40B4-BE49-F238E27FC236}">
                <a16:creationId xmlns:a16="http://schemas.microsoft.com/office/drawing/2014/main" id="{E111C823-9906-4AD2-8EB4-35909D125165}"/>
              </a:ext>
            </a:extLst>
          </p:cNvPr>
          <p:cNvSpPr/>
          <p:nvPr/>
        </p:nvSpPr>
        <p:spPr>
          <a:xfrm>
            <a:off x="427735" y="1296773"/>
            <a:ext cx="11517337" cy="503046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EB30120B-9C99-4B62-9529-7A3FEBA87F21}"/>
              </a:ext>
            </a:extLst>
          </p:cNvPr>
          <p:cNvGrpSpPr/>
          <p:nvPr/>
        </p:nvGrpSpPr>
        <p:grpSpPr>
          <a:xfrm>
            <a:off x="541064" y="382712"/>
            <a:ext cx="2582174" cy="500937"/>
            <a:chOff x="423052" y="305730"/>
            <a:chExt cx="2582174" cy="500937"/>
          </a:xfrm>
          <a:gradFill>
            <a:gsLst>
              <a:gs pos="0">
                <a:srgbClr val="1669E0"/>
              </a:gs>
              <a:gs pos="100000">
                <a:srgbClr val="37A6FF"/>
              </a:gs>
            </a:gsLst>
            <a:lin ang="5400012" scaled="0"/>
          </a:gradFill>
        </p:grpSpPr>
        <p:sp>
          <p:nvSpPr>
            <p:cNvPr id="21" name="Rectangle: Rounded Corners 34">
              <a:extLst>
                <a:ext uri="{FF2B5EF4-FFF2-40B4-BE49-F238E27FC236}">
                  <a16:creationId xmlns:a16="http://schemas.microsoft.com/office/drawing/2014/main" id="{B5D4A748-0DE1-4A85-B0B3-1CD6F753EFB0}"/>
                </a:ext>
              </a:extLst>
            </p:cNvPr>
            <p:cNvSpPr/>
            <p:nvPr/>
          </p:nvSpPr>
          <p:spPr>
            <a:xfrm>
              <a:off x="815816" y="305730"/>
              <a:ext cx="1830269" cy="50093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r>
                <a:rPr lang="en-US">
                  <a:solidFill>
                    <a:prstClr val="white"/>
                  </a:solidFill>
                  <a:cs typeface="+mn-ea"/>
                  <a:sym typeface="+mn-lt"/>
                </a:rPr>
                <a:t> </a:t>
              </a:r>
              <a:endParaRPr lang="en-US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2" name="iṩļïḓè">
              <a:extLst>
                <a:ext uri="{FF2B5EF4-FFF2-40B4-BE49-F238E27FC236}">
                  <a16:creationId xmlns:a16="http://schemas.microsoft.com/office/drawing/2014/main" id="{0A51B54A-BFBA-4C10-B737-6EBE2D033ED5}"/>
                </a:ext>
              </a:extLst>
            </p:cNvPr>
            <p:cNvSpPr txBox="1"/>
            <p:nvPr/>
          </p:nvSpPr>
          <p:spPr bwMode="auto">
            <a:xfrm>
              <a:off x="943549" y="407694"/>
              <a:ext cx="1534794" cy="33865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solidFill>
                    <a:prstClr val="white"/>
                  </a:solidFill>
                  <a:latin typeface="Calibri" panose="020F05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dist" defTabSz="914400"/>
              <a:r>
                <a:rPr lang="en-US" altLang="zh-CN" sz="1400" dirty="0">
                  <a:solidFill>
                    <a:srgbClr val="0F65B4"/>
                  </a:solidFill>
                  <a:cs typeface="+mn-ea"/>
                  <a:sym typeface="+mn-lt"/>
                </a:rPr>
                <a:t>Jpppt.com</a:t>
              </a:r>
            </a:p>
          </p:txBody>
        </p: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44168853-E355-430A-BEEB-45BFFA0DC82A}"/>
                </a:ext>
              </a:extLst>
            </p:cNvPr>
            <p:cNvSpPr/>
            <p:nvPr/>
          </p:nvSpPr>
          <p:spPr>
            <a:xfrm>
              <a:off x="423052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4" name="椭圆 23">
              <a:extLst>
                <a:ext uri="{FF2B5EF4-FFF2-40B4-BE49-F238E27FC236}">
                  <a16:creationId xmlns:a16="http://schemas.microsoft.com/office/drawing/2014/main" id="{805D7B7E-4A00-4830-8C2C-29340158B0CF}"/>
                </a:ext>
              </a:extLst>
            </p:cNvPr>
            <p:cNvSpPr/>
            <p:nvPr/>
          </p:nvSpPr>
          <p:spPr>
            <a:xfrm>
              <a:off x="2800384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  <p:sp>
        <p:nvSpPr>
          <p:cNvPr id="51" name="Google Shape;356;p26">
            <a:extLst>
              <a:ext uri="{FF2B5EF4-FFF2-40B4-BE49-F238E27FC236}">
                <a16:creationId xmlns:a16="http://schemas.microsoft.com/office/drawing/2014/main" id="{CADA745C-AB62-4481-93EB-BCCEA6DB0D5C}"/>
              </a:ext>
            </a:extLst>
          </p:cNvPr>
          <p:cNvSpPr/>
          <p:nvPr/>
        </p:nvSpPr>
        <p:spPr>
          <a:xfrm>
            <a:off x="702195" y="3853204"/>
            <a:ext cx="2713476" cy="445487"/>
          </a:xfrm>
          <a:custGeom>
            <a:avLst/>
            <a:gdLst/>
            <a:ahLst/>
            <a:cxnLst/>
            <a:rect l="l" t="t" r="r" b="b"/>
            <a:pathLst>
              <a:path w="64699" h="10622" extrusionOk="0">
                <a:moveTo>
                  <a:pt x="3977" y="1"/>
                </a:moveTo>
                <a:cubicBezTo>
                  <a:pt x="1786" y="1"/>
                  <a:pt x="0" y="2382"/>
                  <a:pt x="0" y="5311"/>
                </a:cubicBezTo>
                <a:cubicBezTo>
                  <a:pt x="0" y="8228"/>
                  <a:pt x="1786" y="10621"/>
                  <a:pt x="3977" y="10621"/>
                </a:cubicBezTo>
                <a:lnTo>
                  <a:pt x="64699" y="10621"/>
                </a:lnTo>
                <a:lnTo>
                  <a:pt x="64699" y="1"/>
                </a:ln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" dirty="0">
                <a:solidFill>
                  <a:srgbClr val="0D3787"/>
                </a:solidFill>
                <a:cs typeface="+mn-ea"/>
                <a:sym typeface="+mn-lt"/>
              </a:rPr>
              <a:t> </a:t>
            </a:r>
            <a:endParaRPr dirty="0"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52" name="Google Shape;357;p26">
            <a:extLst>
              <a:ext uri="{FF2B5EF4-FFF2-40B4-BE49-F238E27FC236}">
                <a16:creationId xmlns:a16="http://schemas.microsoft.com/office/drawing/2014/main" id="{4E6BCBA1-97EB-4D9D-BE80-27F3F43BA7BD}"/>
              </a:ext>
            </a:extLst>
          </p:cNvPr>
          <p:cNvSpPr/>
          <p:nvPr/>
        </p:nvSpPr>
        <p:spPr>
          <a:xfrm>
            <a:off x="1298920" y="1896517"/>
            <a:ext cx="1600431" cy="1600431"/>
          </a:xfrm>
          <a:custGeom>
            <a:avLst/>
            <a:gdLst/>
            <a:ahLst/>
            <a:cxnLst/>
            <a:rect l="l" t="t" r="r" b="b"/>
            <a:pathLst>
              <a:path w="38160" h="38160" extrusionOk="0">
                <a:moveTo>
                  <a:pt x="19086" y="0"/>
                </a:moveTo>
                <a:cubicBezTo>
                  <a:pt x="13049" y="0"/>
                  <a:pt x="7489" y="2763"/>
                  <a:pt x="3846" y="7597"/>
                </a:cubicBezTo>
                <a:cubicBezTo>
                  <a:pt x="3715" y="7763"/>
                  <a:pt x="3751" y="8001"/>
                  <a:pt x="3917" y="8120"/>
                </a:cubicBezTo>
                <a:cubicBezTo>
                  <a:pt x="3986" y="8174"/>
                  <a:pt x="4068" y="8200"/>
                  <a:pt x="4150" y="8200"/>
                </a:cubicBezTo>
                <a:cubicBezTo>
                  <a:pt x="4267" y="8200"/>
                  <a:pt x="4383" y="8147"/>
                  <a:pt x="4453" y="8049"/>
                </a:cubicBezTo>
                <a:cubicBezTo>
                  <a:pt x="7953" y="3417"/>
                  <a:pt x="13287" y="762"/>
                  <a:pt x="19086" y="762"/>
                </a:cubicBezTo>
                <a:cubicBezTo>
                  <a:pt x="29182" y="762"/>
                  <a:pt x="37398" y="8978"/>
                  <a:pt x="37398" y="19074"/>
                </a:cubicBezTo>
                <a:cubicBezTo>
                  <a:pt x="37398" y="29183"/>
                  <a:pt x="29182" y="37398"/>
                  <a:pt x="19086" y="37398"/>
                </a:cubicBezTo>
                <a:cubicBezTo>
                  <a:pt x="8977" y="37398"/>
                  <a:pt x="762" y="29183"/>
                  <a:pt x="762" y="19074"/>
                </a:cubicBezTo>
                <a:cubicBezTo>
                  <a:pt x="762" y="18872"/>
                  <a:pt x="595" y="18693"/>
                  <a:pt x="381" y="18693"/>
                </a:cubicBezTo>
                <a:cubicBezTo>
                  <a:pt x="167" y="18693"/>
                  <a:pt x="0" y="18872"/>
                  <a:pt x="0" y="19074"/>
                </a:cubicBezTo>
                <a:cubicBezTo>
                  <a:pt x="0" y="29599"/>
                  <a:pt x="8561" y="38160"/>
                  <a:pt x="19086" y="38160"/>
                </a:cubicBezTo>
                <a:cubicBezTo>
                  <a:pt x="29599" y="38160"/>
                  <a:pt x="38160" y="29599"/>
                  <a:pt x="38160" y="19074"/>
                </a:cubicBezTo>
                <a:cubicBezTo>
                  <a:pt x="38160" y="8561"/>
                  <a:pt x="29599" y="0"/>
                  <a:pt x="19086" y="0"/>
                </a:cubicBezTo>
                <a:close/>
              </a:path>
            </a:pathLst>
          </a:custGeom>
          <a:solidFill>
            <a:schemeClr val="accent1"/>
          </a:solidFill>
          <a:ln w="38100" cap="flat" cmpd="sng">
            <a:solidFill>
              <a:srgbClr val="0D37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3" name="Google Shape;358;p26">
            <a:extLst>
              <a:ext uri="{FF2B5EF4-FFF2-40B4-BE49-F238E27FC236}">
                <a16:creationId xmlns:a16="http://schemas.microsoft.com/office/drawing/2014/main" id="{A1398698-02B3-423C-99C5-639E12F1E3AA}"/>
              </a:ext>
            </a:extLst>
          </p:cNvPr>
          <p:cNvSpPr/>
          <p:nvPr/>
        </p:nvSpPr>
        <p:spPr>
          <a:xfrm>
            <a:off x="2083140" y="3464948"/>
            <a:ext cx="32000" cy="397045"/>
          </a:xfrm>
          <a:custGeom>
            <a:avLst/>
            <a:gdLst/>
            <a:ahLst/>
            <a:cxnLst/>
            <a:rect l="l" t="t" r="r" b="b"/>
            <a:pathLst>
              <a:path w="763" h="9467" extrusionOk="0">
                <a:moveTo>
                  <a:pt x="382" y="1"/>
                </a:moveTo>
                <a:cubicBezTo>
                  <a:pt x="168" y="1"/>
                  <a:pt x="1" y="168"/>
                  <a:pt x="1" y="382"/>
                </a:cubicBezTo>
                <a:lnTo>
                  <a:pt x="1" y="9085"/>
                </a:lnTo>
                <a:cubicBezTo>
                  <a:pt x="1" y="9300"/>
                  <a:pt x="168" y="9466"/>
                  <a:pt x="382" y="9466"/>
                </a:cubicBezTo>
                <a:cubicBezTo>
                  <a:pt x="584" y="9466"/>
                  <a:pt x="763" y="9300"/>
                  <a:pt x="763" y="9085"/>
                </a:cubicBezTo>
                <a:lnTo>
                  <a:pt x="763" y="382"/>
                </a:lnTo>
                <a:cubicBezTo>
                  <a:pt x="763" y="168"/>
                  <a:pt x="584" y="1"/>
                  <a:pt x="382" y="1"/>
                </a:cubicBezTo>
                <a:close/>
              </a:path>
            </a:pathLst>
          </a:custGeom>
          <a:noFill/>
          <a:ln w="38100" cap="flat" cmpd="sng">
            <a:solidFill>
              <a:srgbClr val="0D37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4" name="Google Shape;360;p26">
            <a:extLst>
              <a:ext uri="{FF2B5EF4-FFF2-40B4-BE49-F238E27FC236}">
                <a16:creationId xmlns:a16="http://schemas.microsoft.com/office/drawing/2014/main" id="{EF087B74-F3E9-4923-866E-8808B9ECB752}"/>
              </a:ext>
            </a:extLst>
          </p:cNvPr>
          <p:cNvSpPr/>
          <p:nvPr/>
        </p:nvSpPr>
        <p:spPr>
          <a:xfrm>
            <a:off x="3416147" y="3853204"/>
            <a:ext cx="2713519" cy="445487"/>
          </a:xfrm>
          <a:custGeom>
            <a:avLst/>
            <a:gdLst/>
            <a:ahLst/>
            <a:cxnLst/>
            <a:rect l="l" t="t" r="r" b="b"/>
            <a:pathLst>
              <a:path w="64700" h="10622" extrusionOk="0">
                <a:moveTo>
                  <a:pt x="1" y="1"/>
                </a:moveTo>
                <a:lnTo>
                  <a:pt x="1" y="10621"/>
                </a:lnTo>
                <a:lnTo>
                  <a:pt x="64699" y="10621"/>
                </a:lnTo>
                <a:lnTo>
                  <a:pt x="64699" y="1"/>
                </a:ln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" dirty="0">
                <a:solidFill>
                  <a:srgbClr val="0D3787"/>
                </a:solidFill>
                <a:cs typeface="+mn-ea"/>
                <a:sym typeface="+mn-lt"/>
              </a:rPr>
              <a:t> </a:t>
            </a:r>
            <a:endParaRPr dirty="0"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55" name="Google Shape;361;p26">
            <a:extLst>
              <a:ext uri="{FF2B5EF4-FFF2-40B4-BE49-F238E27FC236}">
                <a16:creationId xmlns:a16="http://schemas.microsoft.com/office/drawing/2014/main" id="{B46B6634-C443-44B1-AA69-BF33346979BD}"/>
              </a:ext>
            </a:extLst>
          </p:cNvPr>
          <p:cNvSpPr/>
          <p:nvPr/>
        </p:nvSpPr>
        <p:spPr>
          <a:xfrm>
            <a:off x="3972946" y="1896517"/>
            <a:ext cx="1600431" cy="1600431"/>
          </a:xfrm>
          <a:custGeom>
            <a:avLst/>
            <a:gdLst/>
            <a:ahLst/>
            <a:cxnLst/>
            <a:rect l="l" t="t" r="r" b="b"/>
            <a:pathLst>
              <a:path w="38160" h="38160" extrusionOk="0">
                <a:moveTo>
                  <a:pt x="19074" y="0"/>
                </a:moveTo>
                <a:cubicBezTo>
                  <a:pt x="13037" y="0"/>
                  <a:pt x="7489" y="2763"/>
                  <a:pt x="3846" y="7597"/>
                </a:cubicBezTo>
                <a:cubicBezTo>
                  <a:pt x="3715" y="7763"/>
                  <a:pt x="3751" y="8001"/>
                  <a:pt x="3917" y="8120"/>
                </a:cubicBezTo>
                <a:cubicBezTo>
                  <a:pt x="3986" y="8174"/>
                  <a:pt x="4066" y="8200"/>
                  <a:pt x="4147" y="8200"/>
                </a:cubicBezTo>
                <a:cubicBezTo>
                  <a:pt x="4262" y="8200"/>
                  <a:pt x="4376" y="8147"/>
                  <a:pt x="4453" y="8049"/>
                </a:cubicBezTo>
                <a:cubicBezTo>
                  <a:pt x="7953" y="3417"/>
                  <a:pt x="13287" y="762"/>
                  <a:pt x="19074" y="762"/>
                </a:cubicBezTo>
                <a:cubicBezTo>
                  <a:pt x="29182" y="762"/>
                  <a:pt x="37398" y="8978"/>
                  <a:pt x="37398" y="19074"/>
                </a:cubicBezTo>
                <a:cubicBezTo>
                  <a:pt x="37398" y="29183"/>
                  <a:pt x="29182" y="37398"/>
                  <a:pt x="19074" y="37398"/>
                </a:cubicBezTo>
                <a:cubicBezTo>
                  <a:pt x="8977" y="37398"/>
                  <a:pt x="762" y="29183"/>
                  <a:pt x="762" y="19074"/>
                </a:cubicBezTo>
                <a:cubicBezTo>
                  <a:pt x="762" y="18872"/>
                  <a:pt x="595" y="18693"/>
                  <a:pt x="381" y="18693"/>
                </a:cubicBezTo>
                <a:cubicBezTo>
                  <a:pt x="167" y="18693"/>
                  <a:pt x="0" y="18872"/>
                  <a:pt x="0" y="19074"/>
                </a:cubicBezTo>
                <a:cubicBezTo>
                  <a:pt x="0" y="29599"/>
                  <a:pt x="8561" y="38160"/>
                  <a:pt x="19074" y="38160"/>
                </a:cubicBezTo>
                <a:cubicBezTo>
                  <a:pt x="29599" y="38160"/>
                  <a:pt x="38160" y="29599"/>
                  <a:pt x="38160" y="19074"/>
                </a:cubicBezTo>
                <a:cubicBezTo>
                  <a:pt x="38160" y="8561"/>
                  <a:pt x="29599" y="0"/>
                  <a:pt x="19074" y="0"/>
                </a:cubicBezTo>
                <a:close/>
              </a:path>
            </a:pathLst>
          </a:custGeom>
          <a:solidFill>
            <a:schemeClr val="accent1"/>
          </a:solidFill>
          <a:ln w="38100" cap="flat" cmpd="sng">
            <a:solidFill>
              <a:srgbClr val="0D37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6" name="Google Shape;362;p26">
            <a:extLst>
              <a:ext uri="{FF2B5EF4-FFF2-40B4-BE49-F238E27FC236}">
                <a16:creationId xmlns:a16="http://schemas.microsoft.com/office/drawing/2014/main" id="{2EC01291-1E6A-49EA-AFED-2150BB3DD6C1}"/>
              </a:ext>
            </a:extLst>
          </p:cNvPr>
          <p:cNvSpPr/>
          <p:nvPr/>
        </p:nvSpPr>
        <p:spPr>
          <a:xfrm>
            <a:off x="4756913" y="3464948"/>
            <a:ext cx="32504" cy="397045"/>
          </a:xfrm>
          <a:custGeom>
            <a:avLst/>
            <a:gdLst/>
            <a:ahLst/>
            <a:cxnLst/>
            <a:rect l="l" t="t" r="r" b="b"/>
            <a:pathLst>
              <a:path w="775" h="9467" extrusionOk="0">
                <a:moveTo>
                  <a:pt x="382" y="1"/>
                </a:moveTo>
                <a:cubicBezTo>
                  <a:pt x="179" y="1"/>
                  <a:pt x="1" y="168"/>
                  <a:pt x="1" y="382"/>
                </a:cubicBezTo>
                <a:lnTo>
                  <a:pt x="1" y="9085"/>
                </a:lnTo>
                <a:cubicBezTo>
                  <a:pt x="1" y="9300"/>
                  <a:pt x="179" y="9466"/>
                  <a:pt x="382" y="9466"/>
                </a:cubicBezTo>
                <a:cubicBezTo>
                  <a:pt x="596" y="9466"/>
                  <a:pt x="775" y="9300"/>
                  <a:pt x="775" y="9085"/>
                </a:cubicBezTo>
                <a:lnTo>
                  <a:pt x="775" y="382"/>
                </a:lnTo>
                <a:cubicBezTo>
                  <a:pt x="775" y="168"/>
                  <a:pt x="596" y="1"/>
                  <a:pt x="382" y="1"/>
                </a:cubicBezTo>
                <a:close/>
              </a:path>
            </a:pathLst>
          </a:custGeom>
          <a:noFill/>
          <a:ln w="38100" cap="flat" cmpd="sng">
            <a:solidFill>
              <a:srgbClr val="0D37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7" name="Google Shape;364;p26">
            <a:extLst>
              <a:ext uri="{FF2B5EF4-FFF2-40B4-BE49-F238E27FC236}">
                <a16:creationId xmlns:a16="http://schemas.microsoft.com/office/drawing/2014/main" id="{2EB5BA4E-8769-4099-8E78-49E5FB6E0E1C}"/>
              </a:ext>
            </a:extLst>
          </p:cNvPr>
          <p:cNvSpPr/>
          <p:nvPr/>
        </p:nvSpPr>
        <p:spPr>
          <a:xfrm>
            <a:off x="6130644" y="3853204"/>
            <a:ext cx="2713476" cy="445487"/>
          </a:xfrm>
          <a:custGeom>
            <a:avLst/>
            <a:gdLst/>
            <a:ahLst/>
            <a:cxnLst/>
            <a:rect l="l" t="t" r="r" b="b"/>
            <a:pathLst>
              <a:path w="64699" h="10622" extrusionOk="0">
                <a:moveTo>
                  <a:pt x="0" y="1"/>
                </a:moveTo>
                <a:lnTo>
                  <a:pt x="0" y="10621"/>
                </a:lnTo>
                <a:lnTo>
                  <a:pt x="64699" y="10621"/>
                </a:lnTo>
                <a:lnTo>
                  <a:pt x="64699" y="1"/>
                </a:ln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" dirty="0">
                <a:solidFill>
                  <a:srgbClr val="0D3787"/>
                </a:solidFill>
                <a:cs typeface="+mn-ea"/>
                <a:sym typeface="+mn-lt"/>
              </a:rPr>
              <a:t> </a:t>
            </a:r>
            <a:endParaRPr dirty="0"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58" name="Google Shape;365;p26">
            <a:extLst>
              <a:ext uri="{FF2B5EF4-FFF2-40B4-BE49-F238E27FC236}">
                <a16:creationId xmlns:a16="http://schemas.microsoft.com/office/drawing/2014/main" id="{71E241D0-4E8F-4F5A-8585-5A98116148EA}"/>
              </a:ext>
            </a:extLst>
          </p:cNvPr>
          <p:cNvSpPr/>
          <p:nvPr/>
        </p:nvSpPr>
        <p:spPr>
          <a:xfrm>
            <a:off x="6686897" y="1896517"/>
            <a:ext cx="1600933" cy="1600431"/>
          </a:xfrm>
          <a:custGeom>
            <a:avLst/>
            <a:gdLst/>
            <a:ahLst/>
            <a:cxnLst/>
            <a:rect l="l" t="t" r="r" b="b"/>
            <a:pathLst>
              <a:path w="38172" h="38160" extrusionOk="0">
                <a:moveTo>
                  <a:pt x="19086" y="0"/>
                </a:moveTo>
                <a:cubicBezTo>
                  <a:pt x="13050" y="0"/>
                  <a:pt x="7490" y="2763"/>
                  <a:pt x="3846" y="7597"/>
                </a:cubicBezTo>
                <a:cubicBezTo>
                  <a:pt x="3727" y="7763"/>
                  <a:pt x="3751" y="8001"/>
                  <a:pt x="3930" y="8120"/>
                </a:cubicBezTo>
                <a:cubicBezTo>
                  <a:pt x="3998" y="8174"/>
                  <a:pt x="4079" y="8200"/>
                  <a:pt x="4159" y="8200"/>
                </a:cubicBezTo>
                <a:cubicBezTo>
                  <a:pt x="4274" y="8200"/>
                  <a:pt x="4388" y="8147"/>
                  <a:pt x="4465" y="8049"/>
                </a:cubicBezTo>
                <a:cubicBezTo>
                  <a:pt x="7954" y="3417"/>
                  <a:pt x="13288" y="762"/>
                  <a:pt x="19086" y="762"/>
                </a:cubicBezTo>
                <a:cubicBezTo>
                  <a:pt x="29183" y="762"/>
                  <a:pt x="37410" y="8978"/>
                  <a:pt x="37410" y="19074"/>
                </a:cubicBezTo>
                <a:cubicBezTo>
                  <a:pt x="37410" y="29183"/>
                  <a:pt x="29183" y="37398"/>
                  <a:pt x="19086" y="37398"/>
                </a:cubicBezTo>
                <a:cubicBezTo>
                  <a:pt x="8990" y="37398"/>
                  <a:pt x="774" y="29183"/>
                  <a:pt x="774" y="19074"/>
                </a:cubicBezTo>
                <a:cubicBezTo>
                  <a:pt x="774" y="18872"/>
                  <a:pt x="596" y="18693"/>
                  <a:pt x="382" y="18693"/>
                </a:cubicBezTo>
                <a:cubicBezTo>
                  <a:pt x="179" y="18693"/>
                  <a:pt x="1" y="18872"/>
                  <a:pt x="1" y="19074"/>
                </a:cubicBezTo>
                <a:cubicBezTo>
                  <a:pt x="1" y="29599"/>
                  <a:pt x="8561" y="38160"/>
                  <a:pt x="19086" y="38160"/>
                </a:cubicBezTo>
                <a:cubicBezTo>
                  <a:pt x="29611" y="38160"/>
                  <a:pt x="38172" y="29599"/>
                  <a:pt x="38172" y="19074"/>
                </a:cubicBezTo>
                <a:cubicBezTo>
                  <a:pt x="38172" y="8561"/>
                  <a:pt x="29611" y="0"/>
                  <a:pt x="19086" y="0"/>
                </a:cubicBezTo>
                <a:close/>
              </a:path>
            </a:pathLst>
          </a:custGeom>
          <a:solidFill>
            <a:schemeClr val="accent1"/>
          </a:solidFill>
          <a:ln w="38100" cap="flat" cmpd="sng">
            <a:solidFill>
              <a:srgbClr val="0D37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9" name="Google Shape;366;p26">
            <a:extLst>
              <a:ext uri="{FF2B5EF4-FFF2-40B4-BE49-F238E27FC236}">
                <a16:creationId xmlns:a16="http://schemas.microsoft.com/office/drawing/2014/main" id="{826134C8-2C63-42DA-A49B-491A66BAEA4E}"/>
              </a:ext>
            </a:extLst>
          </p:cNvPr>
          <p:cNvSpPr/>
          <p:nvPr/>
        </p:nvSpPr>
        <p:spPr>
          <a:xfrm>
            <a:off x="7471368" y="3464948"/>
            <a:ext cx="32000" cy="397045"/>
          </a:xfrm>
          <a:custGeom>
            <a:avLst/>
            <a:gdLst/>
            <a:ahLst/>
            <a:cxnLst/>
            <a:rect l="l" t="t" r="r" b="b"/>
            <a:pathLst>
              <a:path w="763" h="9467" extrusionOk="0">
                <a:moveTo>
                  <a:pt x="381" y="1"/>
                </a:moveTo>
                <a:cubicBezTo>
                  <a:pt x="167" y="1"/>
                  <a:pt x="0" y="168"/>
                  <a:pt x="0" y="382"/>
                </a:cubicBezTo>
                <a:lnTo>
                  <a:pt x="0" y="9085"/>
                </a:lnTo>
                <a:cubicBezTo>
                  <a:pt x="0" y="9300"/>
                  <a:pt x="167" y="9466"/>
                  <a:pt x="381" y="9466"/>
                </a:cubicBezTo>
                <a:cubicBezTo>
                  <a:pt x="596" y="9466"/>
                  <a:pt x="762" y="9300"/>
                  <a:pt x="762" y="9085"/>
                </a:cubicBezTo>
                <a:lnTo>
                  <a:pt x="762" y="382"/>
                </a:lnTo>
                <a:cubicBezTo>
                  <a:pt x="762" y="168"/>
                  <a:pt x="596" y="1"/>
                  <a:pt x="381" y="1"/>
                </a:cubicBezTo>
                <a:close/>
              </a:path>
            </a:pathLst>
          </a:custGeom>
          <a:noFill/>
          <a:ln w="38100" cap="flat" cmpd="sng">
            <a:solidFill>
              <a:srgbClr val="0D37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60" name="Google Shape;368;p26">
            <a:extLst>
              <a:ext uri="{FF2B5EF4-FFF2-40B4-BE49-F238E27FC236}">
                <a16:creationId xmlns:a16="http://schemas.microsoft.com/office/drawing/2014/main" id="{A56A0043-52A7-4CC1-A090-615D9722AA82}"/>
              </a:ext>
            </a:extLst>
          </p:cNvPr>
          <p:cNvSpPr/>
          <p:nvPr/>
        </p:nvSpPr>
        <p:spPr>
          <a:xfrm>
            <a:off x="8845100" y="3853204"/>
            <a:ext cx="2713476" cy="445487"/>
          </a:xfrm>
          <a:custGeom>
            <a:avLst/>
            <a:gdLst/>
            <a:ahLst/>
            <a:cxnLst/>
            <a:rect l="l" t="t" r="r" b="b"/>
            <a:pathLst>
              <a:path w="64699" h="10622" extrusionOk="0">
                <a:moveTo>
                  <a:pt x="0" y="1"/>
                </a:moveTo>
                <a:lnTo>
                  <a:pt x="0" y="10621"/>
                </a:lnTo>
                <a:lnTo>
                  <a:pt x="60722" y="10621"/>
                </a:lnTo>
                <a:cubicBezTo>
                  <a:pt x="62901" y="10621"/>
                  <a:pt x="64699" y="8228"/>
                  <a:pt x="64699" y="5311"/>
                </a:cubicBezTo>
                <a:cubicBezTo>
                  <a:pt x="64699" y="2382"/>
                  <a:pt x="62901" y="1"/>
                  <a:pt x="60722" y="1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" dirty="0">
                <a:solidFill>
                  <a:srgbClr val="0D3787"/>
                </a:solidFill>
                <a:cs typeface="+mn-ea"/>
                <a:sym typeface="+mn-lt"/>
              </a:rPr>
              <a:t> </a:t>
            </a:r>
            <a:endParaRPr dirty="0"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61" name="Google Shape;369;p26">
            <a:extLst>
              <a:ext uri="{FF2B5EF4-FFF2-40B4-BE49-F238E27FC236}">
                <a16:creationId xmlns:a16="http://schemas.microsoft.com/office/drawing/2014/main" id="{D7C3FE46-3F3F-4FD5-8DB3-821AE9CB6D27}"/>
              </a:ext>
            </a:extLst>
          </p:cNvPr>
          <p:cNvSpPr/>
          <p:nvPr/>
        </p:nvSpPr>
        <p:spPr>
          <a:xfrm>
            <a:off x="9318983" y="1896517"/>
            <a:ext cx="1600431" cy="1600431"/>
          </a:xfrm>
          <a:custGeom>
            <a:avLst/>
            <a:gdLst/>
            <a:ahLst/>
            <a:cxnLst/>
            <a:rect l="l" t="t" r="r" b="b"/>
            <a:pathLst>
              <a:path w="38160" h="38160" extrusionOk="0">
                <a:moveTo>
                  <a:pt x="19074" y="0"/>
                </a:moveTo>
                <a:cubicBezTo>
                  <a:pt x="13038" y="0"/>
                  <a:pt x="7489" y="2763"/>
                  <a:pt x="3846" y="7597"/>
                </a:cubicBezTo>
                <a:cubicBezTo>
                  <a:pt x="3715" y="7763"/>
                  <a:pt x="3751" y="8001"/>
                  <a:pt x="3918" y="8120"/>
                </a:cubicBezTo>
                <a:cubicBezTo>
                  <a:pt x="3986" y="8174"/>
                  <a:pt x="4067" y="8200"/>
                  <a:pt x="4147" y="8200"/>
                </a:cubicBezTo>
                <a:cubicBezTo>
                  <a:pt x="4262" y="8200"/>
                  <a:pt x="4376" y="8147"/>
                  <a:pt x="4453" y="8049"/>
                </a:cubicBezTo>
                <a:cubicBezTo>
                  <a:pt x="7954" y="3417"/>
                  <a:pt x="13276" y="762"/>
                  <a:pt x="19074" y="762"/>
                </a:cubicBezTo>
                <a:cubicBezTo>
                  <a:pt x="29183" y="762"/>
                  <a:pt x="37398" y="8978"/>
                  <a:pt x="37398" y="19074"/>
                </a:cubicBezTo>
                <a:cubicBezTo>
                  <a:pt x="37398" y="29183"/>
                  <a:pt x="29183" y="37398"/>
                  <a:pt x="19074" y="37398"/>
                </a:cubicBezTo>
                <a:cubicBezTo>
                  <a:pt x="8978" y="37398"/>
                  <a:pt x="762" y="29183"/>
                  <a:pt x="762" y="19074"/>
                </a:cubicBezTo>
                <a:cubicBezTo>
                  <a:pt x="762" y="18872"/>
                  <a:pt x="584" y="18693"/>
                  <a:pt x="381" y="18693"/>
                </a:cubicBezTo>
                <a:cubicBezTo>
                  <a:pt x="167" y="18693"/>
                  <a:pt x="0" y="18872"/>
                  <a:pt x="0" y="19074"/>
                </a:cubicBezTo>
                <a:cubicBezTo>
                  <a:pt x="0" y="29599"/>
                  <a:pt x="8549" y="38160"/>
                  <a:pt x="19074" y="38160"/>
                </a:cubicBezTo>
                <a:cubicBezTo>
                  <a:pt x="29599" y="38160"/>
                  <a:pt x="38160" y="29599"/>
                  <a:pt x="38160" y="19074"/>
                </a:cubicBezTo>
                <a:cubicBezTo>
                  <a:pt x="38160" y="8561"/>
                  <a:pt x="29599" y="0"/>
                  <a:pt x="19074" y="0"/>
                </a:cubicBezTo>
                <a:close/>
              </a:path>
            </a:pathLst>
          </a:custGeom>
          <a:solidFill>
            <a:schemeClr val="accent1"/>
          </a:solidFill>
          <a:ln w="38100" cap="flat" cmpd="sng">
            <a:solidFill>
              <a:srgbClr val="0D37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62" name="Google Shape;370;p26">
            <a:extLst>
              <a:ext uri="{FF2B5EF4-FFF2-40B4-BE49-F238E27FC236}">
                <a16:creationId xmlns:a16="http://schemas.microsoft.com/office/drawing/2014/main" id="{7BC41D40-4776-419E-84DC-A70F84F37B04}"/>
              </a:ext>
            </a:extLst>
          </p:cNvPr>
          <p:cNvSpPr/>
          <p:nvPr/>
        </p:nvSpPr>
        <p:spPr>
          <a:xfrm>
            <a:off x="10103201" y="3464948"/>
            <a:ext cx="32000" cy="397045"/>
          </a:xfrm>
          <a:custGeom>
            <a:avLst/>
            <a:gdLst/>
            <a:ahLst/>
            <a:cxnLst/>
            <a:rect l="l" t="t" r="r" b="b"/>
            <a:pathLst>
              <a:path w="763" h="9467" extrusionOk="0">
                <a:moveTo>
                  <a:pt x="381" y="1"/>
                </a:moveTo>
                <a:cubicBezTo>
                  <a:pt x="167" y="1"/>
                  <a:pt x="0" y="168"/>
                  <a:pt x="0" y="382"/>
                </a:cubicBezTo>
                <a:lnTo>
                  <a:pt x="0" y="9085"/>
                </a:lnTo>
                <a:cubicBezTo>
                  <a:pt x="0" y="9300"/>
                  <a:pt x="167" y="9466"/>
                  <a:pt x="381" y="9466"/>
                </a:cubicBezTo>
                <a:cubicBezTo>
                  <a:pt x="596" y="9466"/>
                  <a:pt x="762" y="9300"/>
                  <a:pt x="762" y="9085"/>
                </a:cubicBezTo>
                <a:lnTo>
                  <a:pt x="762" y="382"/>
                </a:lnTo>
                <a:cubicBezTo>
                  <a:pt x="762" y="168"/>
                  <a:pt x="596" y="1"/>
                  <a:pt x="381" y="1"/>
                </a:cubicBezTo>
                <a:close/>
              </a:path>
            </a:pathLst>
          </a:custGeom>
          <a:noFill/>
          <a:ln w="38100" cap="flat" cmpd="sng">
            <a:solidFill>
              <a:srgbClr val="0D37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63" name="Google Shape;372;p26">
            <a:extLst>
              <a:ext uri="{FF2B5EF4-FFF2-40B4-BE49-F238E27FC236}">
                <a16:creationId xmlns:a16="http://schemas.microsoft.com/office/drawing/2014/main" id="{55BAE1C9-2ADB-4705-9AAD-55F844F3BAA6}"/>
              </a:ext>
            </a:extLst>
          </p:cNvPr>
          <p:cNvSpPr txBox="1"/>
          <p:nvPr/>
        </p:nvSpPr>
        <p:spPr>
          <a:xfrm>
            <a:off x="1660820" y="2344838"/>
            <a:ext cx="876800" cy="70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CN" sz="7200" b="0" i="0" u="none" strike="noStrike" kern="0" cap="none" spc="0" normalizeH="0" baseline="0" noProof="0" dirty="0">
                <a:ln>
                  <a:noFill/>
                </a:ln>
                <a:solidFill>
                  <a:srgbClr val="0D3787"/>
                </a:solidFill>
                <a:effectLst/>
                <a:uLnTx/>
                <a:uFillTx/>
                <a:cs typeface="+mn-ea"/>
                <a:sym typeface="+mn-lt"/>
              </a:rPr>
              <a:t>1</a:t>
            </a:r>
            <a:endParaRPr kumimoji="0" sz="7200" b="0" i="0" u="none" strike="noStrike" kern="0" cap="none" spc="0" normalizeH="0" baseline="0" noProof="0" dirty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64" name="Google Shape;373;p26">
            <a:extLst>
              <a:ext uri="{FF2B5EF4-FFF2-40B4-BE49-F238E27FC236}">
                <a16:creationId xmlns:a16="http://schemas.microsoft.com/office/drawing/2014/main" id="{0A503A32-37E0-444E-863C-BE9AD60F9DEA}"/>
              </a:ext>
            </a:extLst>
          </p:cNvPr>
          <p:cNvSpPr txBox="1"/>
          <p:nvPr/>
        </p:nvSpPr>
        <p:spPr>
          <a:xfrm>
            <a:off x="4334845" y="2344838"/>
            <a:ext cx="876800" cy="70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CN" sz="7200" b="0" i="0" u="none" strike="noStrike" kern="0" cap="none" spc="0" normalizeH="0" baseline="0" noProof="0" dirty="0">
                <a:ln>
                  <a:noFill/>
                </a:ln>
                <a:solidFill>
                  <a:srgbClr val="0D3787"/>
                </a:solidFill>
                <a:effectLst/>
                <a:uLnTx/>
                <a:uFillTx/>
                <a:cs typeface="+mn-ea"/>
                <a:sym typeface="+mn-lt"/>
              </a:rPr>
              <a:t>2</a:t>
            </a:r>
            <a:endParaRPr kumimoji="0" sz="7200" b="0" i="0" u="none" strike="noStrike" kern="0" cap="none" spc="0" normalizeH="0" baseline="0" noProof="0" dirty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65" name="Google Shape;374;p26">
            <a:extLst>
              <a:ext uri="{FF2B5EF4-FFF2-40B4-BE49-F238E27FC236}">
                <a16:creationId xmlns:a16="http://schemas.microsoft.com/office/drawing/2014/main" id="{40DF0050-6CE9-415C-ACA2-0CDBB4ED75E3}"/>
              </a:ext>
            </a:extLst>
          </p:cNvPr>
          <p:cNvSpPr txBox="1"/>
          <p:nvPr/>
        </p:nvSpPr>
        <p:spPr>
          <a:xfrm>
            <a:off x="7049048" y="2344838"/>
            <a:ext cx="876800" cy="70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CN" sz="7200" b="0" i="0" u="none" strike="noStrike" kern="0" cap="none" spc="0" normalizeH="0" baseline="0" noProof="0" dirty="0">
                <a:ln>
                  <a:noFill/>
                </a:ln>
                <a:solidFill>
                  <a:srgbClr val="0D3787"/>
                </a:solidFill>
                <a:effectLst/>
                <a:uLnTx/>
                <a:uFillTx/>
                <a:cs typeface="+mn-ea"/>
                <a:sym typeface="+mn-lt"/>
              </a:rPr>
              <a:t>3</a:t>
            </a:r>
            <a:endParaRPr kumimoji="0" sz="7200" b="0" i="0" u="none" strike="noStrike" kern="0" cap="none" spc="0" normalizeH="0" baseline="0" noProof="0" dirty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66" name="Google Shape;375;p26">
            <a:extLst>
              <a:ext uri="{FF2B5EF4-FFF2-40B4-BE49-F238E27FC236}">
                <a16:creationId xmlns:a16="http://schemas.microsoft.com/office/drawing/2014/main" id="{531C8703-0497-4FFF-AB4B-20AA8AC5BEA3}"/>
              </a:ext>
            </a:extLst>
          </p:cNvPr>
          <p:cNvSpPr txBox="1"/>
          <p:nvPr/>
        </p:nvSpPr>
        <p:spPr>
          <a:xfrm>
            <a:off x="9680881" y="2344838"/>
            <a:ext cx="876800" cy="70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CN" sz="7200" b="0" i="0" u="none" strike="noStrike" kern="0" cap="none" spc="0" normalizeH="0" baseline="0" noProof="0" dirty="0">
                <a:ln>
                  <a:noFill/>
                </a:ln>
                <a:solidFill>
                  <a:srgbClr val="0D3787"/>
                </a:solidFill>
                <a:effectLst/>
                <a:uLnTx/>
                <a:uFillTx/>
                <a:cs typeface="+mn-ea"/>
                <a:sym typeface="+mn-lt"/>
              </a:rPr>
              <a:t>4</a:t>
            </a:r>
            <a:endParaRPr kumimoji="0" sz="7200" b="0" i="0" u="none" strike="noStrike" kern="0" cap="none" spc="0" normalizeH="0" baseline="0" noProof="0" dirty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6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4225C7FE-9036-43B1-969F-E20CA06AD1BB}"/>
              </a:ext>
            </a:extLst>
          </p:cNvPr>
          <p:cNvSpPr txBox="1"/>
          <p:nvPr/>
        </p:nvSpPr>
        <p:spPr>
          <a:xfrm>
            <a:off x="1131743" y="4494383"/>
            <a:ext cx="1934784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</a:t>
            </a:r>
          </a:p>
        </p:txBody>
      </p:sp>
      <p:sp>
        <p:nvSpPr>
          <p:cNvPr id="68" name="iṩļïḓè">
            <a:extLst>
              <a:ext uri="{FF2B5EF4-FFF2-40B4-BE49-F238E27FC236}">
                <a16:creationId xmlns:a16="http://schemas.microsoft.com/office/drawing/2014/main" id="{AB590B30-C538-45A4-B020-282B050832C5}"/>
              </a:ext>
            </a:extLst>
          </p:cNvPr>
          <p:cNvSpPr txBox="1"/>
          <p:nvPr/>
        </p:nvSpPr>
        <p:spPr bwMode="auto">
          <a:xfrm>
            <a:off x="1284873" y="3936464"/>
            <a:ext cx="1534794" cy="338653"/>
          </a:xfrm>
          <a:prstGeom prst="roundRect">
            <a:avLst>
              <a:gd name="adj" fmla="val 5000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dist"/>
            <a:r>
              <a:rPr lang="en-US" altLang="zh-CN" sz="1000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69" name="iṩļïḓè">
            <a:extLst>
              <a:ext uri="{FF2B5EF4-FFF2-40B4-BE49-F238E27FC236}">
                <a16:creationId xmlns:a16="http://schemas.microsoft.com/office/drawing/2014/main" id="{2CD326DD-E61F-4EC3-942C-6211ECBAA34E}"/>
              </a:ext>
            </a:extLst>
          </p:cNvPr>
          <p:cNvSpPr txBox="1"/>
          <p:nvPr/>
        </p:nvSpPr>
        <p:spPr bwMode="auto">
          <a:xfrm>
            <a:off x="4005509" y="3945269"/>
            <a:ext cx="1534794" cy="338653"/>
          </a:xfrm>
          <a:prstGeom prst="roundRect">
            <a:avLst>
              <a:gd name="adj" fmla="val 5000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dist"/>
            <a:r>
              <a:rPr lang="en-US" altLang="zh-CN" sz="1000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70" name="iṩļïḓè">
            <a:extLst>
              <a:ext uri="{FF2B5EF4-FFF2-40B4-BE49-F238E27FC236}">
                <a16:creationId xmlns:a16="http://schemas.microsoft.com/office/drawing/2014/main" id="{23B55A30-6D3C-4CEF-892E-BD66AAB36691}"/>
              </a:ext>
            </a:extLst>
          </p:cNvPr>
          <p:cNvSpPr txBox="1"/>
          <p:nvPr/>
        </p:nvSpPr>
        <p:spPr bwMode="auto">
          <a:xfrm>
            <a:off x="6656467" y="3936463"/>
            <a:ext cx="1534794" cy="338653"/>
          </a:xfrm>
          <a:prstGeom prst="roundRect">
            <a:avLst>
              <a:gd name="adj" fmla="val 5000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dist"/>
            <a:r>
              <a:rPr lang="en-US" altLang="zh-CN" sz="1000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71" name="iṩļïḓè">
            <a:extLst>
              <a:ext uri="{FF2B5EF4-FFF2-40B4-BE49-F238E27FC236}">
                <a16:creationId xmlns:a16="http://schemas.microsoft.com/office/drawing/2014/main" id="{2EFCD347-6674-4929-B9D1-037332464518}"/>
              </a:ext>
            </a:extLst>
          </p:cNvPr>
          <p:cNvSpPr txBox="1"/>
          <p:nvPr/>
        </p:nvSpPr>
        <p:spPr bwMode="auto">
          <a:xfrm>
            <a:off x="9284911" y="3936463"/>
            <a:ext cx="1534794" cy="338653"/>
          </a:xfrm>
          <a:prstGeom prst="roundRect">
            <a:avLst>
              <a:gd name="adj" fmla="val 5000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dist"/>
            <a:r>
              <a:rPr lang="en-US" altLang="zh-CN" sz="1000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72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DF129C53-9A9D-4988-822F-ED11D2FBE083}"/>
              </a:ext>
            </a:extLst>
          </p:cNvPr>
          <p:cNvSpPr txBox="1"/>
          <p:nvPr/>
        </p:nvSpPr>
        <p:spPr>
          <a:xfrm>
            <a:off x="3777448" y="4494383"/>
            <a:ext cx="1934784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</a:t>
            </a:r>
          </a:p>
        </p:txBody>
      </p:sp>
      <p:sp>
        <p:nvSpPr>
          <p:cNvPr id="7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F3163019-654E-49B1-AD1C-F51EB407BD59}"/>
              </a:ext>
            </a:extLst>
          </p:cNvPr>
          <p:cNvSpPr txBox="1"/>
          <p:nvPr/>
        </p:nvSpPr>
        <p:spPr>
          <a:xfrm>
            <a:off x="6535976" y="4507306"/>
            <a:ext cx="1934784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</a:t>
            </a:r>
          </a:p>
        </p:txBody>
      </p:sp>
      <p:sp>
        <p:nvSpPr>
          <p:cNvPr id="74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771681B4-94C7-4122-9D0E-919CF91E57A9}"/>
              </a:ext>
            </a:extLst>
          </p:cNvPr>
          <p:cNvSpPr txBox="1"/>
          <p:nvPr/>
        </p:nvSpPr>
        <p:spPr>
          <a:xfrm>
            <a:off x="9218668" y="4475841"/>
            <a:ext cx="1934784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</a:t>
            </a:r>
          </a:p>
        </p:txBody>
      </p:sp>
    </p:spTree>
    <p:extLst>
      <p:ext uri="{BB962C8B-B14F-4D97-AF65-F5344CB8AC3E}">
        <p14:creationId xmlns:p14="http://schemas.microsoft.com/office/powerpoint/2010/main" val="1430929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8" grpId="0"/>
      <p:bldP spid="69" grpId="0"/>
      <p:bldP spid="70" grpId="0"/>
      <p:bldP spid="71" grpId="0"/>
      <p:bldP spid="72" grpId="0" animBg="1"/>
      <p:bldP spid="73" grpId="0" animBg="1"/>
      <p:bldP spid="7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31">
            <a:extLst>
              <a:ext uri="{FF2B5EF4-FFF2-40B4-BE49-F238E27FC236}">
                <a16:creationId xmlns:a16="http://schemas.microsoft.com/office/drawing/2014/main" id="{E7FB9039-B1C0-49A1-A3BC-F55A9EA99967}"/>
              </a:ext>
            </a:extLst>
          </p:cNvPr>
          <p:cNvSpPr txBox="1"/>
          <p:nvPr/>
        </p:nvSpPr>
        <p:spPr>
          <a:xfrm rot="10800000" flipH="1">
            <a:off x="-20800" y="4080168"/>
            <a:ext cx="3841958" cy="2809874"/>
          </a:xfrm>
          <a:custGeom>
            <a:avLst/>
            <a:gdLst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54452"/>
              <a:gd name="connsiteX1" fmla="*/ 6674304 w 6674304"/>
              <a:gd name="connsiteY1" fmla="*/ 0 h 5954452"/>
              <a:gd name="connsiteX2" fmla="*/ 6672463 w 6674304"/>
              <a:gd name="connsiteY2" fmla="*/ 3528 h 5954452"/>
              <a:gd name="connsiteX3" fmla="*/ 6142663 w 6674304"/>
              <a:gd name="connsiteY3" fmla="*/ 1686835 h 5954452"/>
              <a:gd name="connsiteX4" fmla="*/ 4132917 w 6674304"/>
              <a:gd name="connsiteY4" fmla="*/ 2753737 h 5954452"/>
              <a:gd name="connsiteX5" fmla="*/ 3289320 w 6674304"/>
              <a:gd name="connsiteY5" fmla="*/ 4862728 h 5954452"/>
              <a:gd name="connsiteX6" fmla="*/ 1763402 w 6674304"/>
              <a:gd name="connsiteY6" fmla="*/ 5954443 h 5954452"/>
              <a:gd name="connsiteX7" fmla="*/ 63803 w 6674304"/>
              <a:gd name="connsiteY7" fmla="*/ 5470616 h 5954452"/>
              <a:gd name="connsiteX8" fmla="*/ 0 w 6674304"/>
              <a:gd name="connsiteY8" fmla="*/ 5467195 h 5954452"/>
              <a:gd name="connsiteX9" fmla="*/ 0 w 6674304"/>
              <a:gd name="connsiteY9" fmla="*/ 0 h 5954452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323857 w 6674304"/>
              <a:gd name="connsiteY5" fmla="*/ 488071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7613"/>
              <a:gd name="connsiteX1" fmla="*/ 6674304 w 6674304"/>
              <a:gd name="connsiteY1" fmla="*/ 0 h 5957613"/>
              <a:gd name="connsiteX2" fmla="*/ 6672463 w 6674304"/>
              <a:gd name="connsiteY2" fmla="*/ 3528 h 5957613"/>
              <a:gd name="connsiteX3" fmla="*/ 6142663 w 6674304"/>
              <a:gd name="connsiteY3" fmla="*/ 1686835 h 5957613"/>
              <a:gd name="connsiteX4" fmla="*/ 4132917 w 6674304"/>
              <a:gd name="connsiteY4" fmla="*/ 2753737 h 5957613"/>
              <a:gd name="connsiteX5" fmla="*/ 3323857 w 6674304"/>
              <a:gd name="connsiteY5" fmla="*/ 4880718 h 5957613"/>
              <a:gd name="connsiteX6" fmla="*/ 1763402 w 6674304"/>
              <a:gd name="connsiteY6" fmla="*/ 5954443 h 5957613"/>
              <a:gd name="connsiteX7" fmla="*/ 63803 w 6674304"/>
              <a:gd name="connsiteY7" fmla="*/ 5470616 h 5957613"/>
              <a:gd name="connsiteX8" fmla="*/ 0 w 6674304"/>
              <a:gd name="connsiteY8" fmla="*/ 5467195 h 5957613"/>
              <a:gd name="connsiteX9" fmla="*/ 0 w 6674304"/>
              <a:gd name="connsiteY9" fmla="*/ 0 h 5957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74304" h="5957613">
                <a:moveTo>
                  <a:pt x="0" y="0"/>
                </a:moveTo>
                <a:lnTo>
                  <a:pt x="6674304" y="0"/>
                </a:lnTo>
                <a:lnTo>
                  <a:pt x="6672463" y="3528"/>
                </a:lnTo>
                <a:cubicBezTo>
                  <a:pt x="6485641" y="423111"/>
                  <a:pt x="6718539" y="1011007"/>
                  <a:pt x="6142663" y="1686835"/>
                </a:cubicBezTo>
                <a:cubicBezTo>
                  <a:pt x="5728792" y="2172540"/>
                  <a:pt x="4602718" y="2221423"/>
                  <a:pt x="4132917" y="2753737"/>
                </a:cubicBezTo>
                <a:cubicBezTo>
                  <a:pt x="3663116" y="3286051"/>
                  <a:pt x="3658337" y="4266313"/>
                  <a:pt x="3323857" y="4880718"/>
                </a:cubicBezTo>
                <a:cubicBezTo>
                  <a:pt x="2989377" y="5495123"/>
                  <a:pt x="2577285" y="5862125"/>
                  <a:pt x="1763402" y="5954443"/>
                </a:cubicBezTo>
                <a:cubicBezTo>
                  <a:pt x="1230133" y="6001788"/>
                  <a:pt x="551766" y="5503698"/>
                  <a:pt x="63803" y="5470616"/>
                </a:cubicBezTo>
                <a:lnTo>
                  <a:pt x="0" y="5467195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0" marR="0" lvl="1" indent="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latin typeface="+mn-lt"/>
              <a:cs typeface="+mn-ea"/>
              <a:sym typeface="+mn-lt"/>
            </a:endParaRPr>
          </a:p>
        </p:txBody>
      </p:sp>
      <p:sp>
        <p:nvSpPr>
          <p:cNvPr id="26" name="Freeform: Shape 28">
            <a:extLst>
              <a:ext uri="{FF2B5EF4-FFF2-40B4-BE49-F238E27FC236}">
                <a16:creationId xmlns:a16="http://schemas.microsoft.com/office/drawing/2014/main" id="{BF709F12-0348-4592-B13A-EEAC8D372363}"/>
              </a:ext>
            </a:extLst>
          </p:cNvPr>
          <p:cNvSpPr/>
          <p:nvPr/>
        </p:nvSpPr>
        <p:spPr>
          <a:xfrm>
            <a:off x="5451676" y="0"/>
            <a:ext cx="6740324" cy="6858000"/>
          </a:xfrm>
          <a:custGeom>
            <a:avLst/>
            <a:gdLst>
              <a:gd name="connsiteX0" fmla="*/ 6050384 w 8632154"/>
              <a:gd name="connsiteY0" fmla="*/ 0 h 6858000"/>
              <a:gd name="connsiteX1" fmla="*/ 8632154 w 8632154"/>
              <a:gd name="connsiteY1" fmla="*/ 0 h 6858000"/>
              <a:gd name="connsiteX2" fmla="*/ 8632154 w 8632154"/>
              <a:gd name="connsiteY2" fmla="*/ 6858000 h 6858000"/>
              <a:gd name="connsiteX3" fmla="*/ 0 w 8632154"/>
              <a:gd name="connsiteY3" fmla="*/ 6858000 h 6858000"/>
              <a:gd name="connsiteX4" fmla="*/ 17136 w 8632154"/>
              <a:gd name="connsiteY4" fmla="*/ 6850412 h 6858000"/>
              <a:gd name="connsiteX5" fmla="*/ 1326096 w 8632154"/>
              <a:gd name="connsiteY5" fmla="*/ 5732390 h 6858000"/>
              <a:gd name="connsiteX6" fmla="*/ 2315345 w 8632154"/>
              <a:gd name="connsiteY6" fmla="*/ 3259269 h 6858000"/>
              <a:gd name="connsiteX7" fmla="*/ 4672086 w 8632154"/>
              <a:gd name="connsiteY7" fmla="*/ 2008159 h 6858000"/>
              <a:gd name="connsiteX8" fmla="*/ 5848499 w 8632154"/>
              <a:gd name="connsiteY8" fmla="*/ 9045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32154" h="6858000">
                <a:moveTo>
                  <a:pt x="6050384" y="0"/>
                </a:moveTo>
                <a:lnTo>
                  <a:pt x="8632154" y="0"/>
                </a:lnTo>
                <a:lnTo>
                  <a:pt x="8632154" y="6858000"/>
                </a:lnTo>
                <a:lnTo>
                  <a:pt x="0" y="6858000"/>
                </a:lnTo>
                <a:lnTo>
                  <a:pt x="17136" y="6850412"/>
                </a:lnTo>
                <a:cubicBezTo>
                  <a:pt x="500509" y="6620261"/>
                  <a:pt x="978767" y="6201556"/>
                  <a:pt x="1326096" y="5732390"/>
                </a:cubicBezTo>
                <a:cubicBezTo>
                  <a:pt x="1789202" y="5106837"/>
                  <a:pt x="1757679" y="3879973"/>
                  <a:pt x="2315345" y="3259269"/>
                </a:cubicBezTo>
                <a:cubicBezTo>
                  <a:pt x="2873010" y="2638564"/>
                  <a:pt x="4167763" y="2560976"/>
                  <a:pt x="4672086" y="2008159"/>
                </a:cubicBezTo>
                <a:cubicBezTo>
                  <a:pt x="5085790" y="1554678"/>
                  <a:pt x="4955167" y="563510"/>
                  <a:pt x="5848499" y="90459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7" name="Google Shape;1023;p41">
            <a:extLst>
              <a:ext uri="{FF2B5EF4-FFF2-40B4-BE49-F238E27FC236}">
                <a16:creationId xmlns:a16="http://schemas.microsoft.com/office/drawing/2014/main" id="{E111C823-9906-4AD2-8EB4-35909D125165}"/>
              </a:ext>
            </a:extLst>
          </p:cNvPr>
          <p:cNvSpPr/>
          <p:nvPr/>
        </p:nvSpPr>
        <p:spPr>
          <a:xfrm>
            <a:off x="427735" y="1296773"/>
            <a:ext cx="11517337" cy="503046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EB30120B-9C99-4B62-9529-7A3FEBA87F21}"/>
              </a:ext>
            </a:extLst>
          </p:cNvPr>
          <p:cNvGrpSpPr/>
          <p:nvPr/>
        </p:nvGrpSpPr>
        <p:grpSpPr>
          <a:xfrm>
            <a:off x="541064" y="382712"/>
            <a:ext cx="2582174" cy="500937"/>
            <a:chOff x="423052" y="305730"/>
            <a:chExt cx="2582174" cy="500937"/>
          </a:xfrm>
          <a:gradFill>
            <a:gsLst>
              <a:gs pos="0">
                <a:srgbClr val="1669E0"/>
              </a:gs>
              <a:gs pos="100000">
                <a:srgbClr val="37A6FF"/>
              </a:gs>
            </a:gsLst>
            <a:lin ang="5400012" scaled="0"/>
          </a:gradFill>
        </p:grpSpPr>
        <p:sp>
          <p:nvSpPr>
            <p:cNvPr id="21" name="Rectangle: Rounded Corners 34">
              <a:extLst>
                <a:ext uri="{FF2B5EF4-FFF2-40B4-BE49-F238E27FC236}">
                  <a16:creationId xmlns:a16="http://schemas.microsoft.com/office/drawing/2014/main" id="{B5D4A748-0DE1-4A85-B0B3-1CD6F753EFB0}"/>
                </a:ext>
              </a:extLst>
            </p:cNvPr>
            <p:cNvSpPr/>
            <p:nvPr/>
          </p:nvSpPr>
          <p:spPr>
            <a:xfrm>
              <a:off x="815816" y="305730"/>
              <a:ext cx="1830269" cy="50093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r>
                <a:rPr lang="en-US">
                  <a:solidFill>
                    <a:prstClr val="white"/>
                  </a:solidFill>
                  <a:cs typeface="+mn-ea"/>
                  <a:sym typeface="+mn-lt"/>
                </a:rPr>
                <a:t> </a:t>
              </a:r>
              <a:endParaRPr lang="en-US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2" name="iṩļïḓè">
              <a:extLst>
                <a:ext uri="{FF2B5EF4-FFF2-40B4-BE49-F238E27FC236}">
                  <a16:creationId xmlns:a16="http://schemas.microsoft.com/office/drawing/2014/main" id="{0A51B54A-BFBA-4C10-B737-6EBE2D033ED5}"/>
                </a:ext>
              </a:extLst>
            </p:cNvPr>
            <p:cNvSpPr txBox="1"/>
            <p:nvPr/>
          </p:nvSpPr>
          <p:spPr bwMode="auto">
            <a:xfrm>
              <a:off x="943549" y="407694"/>
              <a:ext cx="1534794" cy="33865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solidFill>
                    <a:prstClr val="white"/>
                  </a:solidFill>
                  <a:latin typeface="Calibri" panose="020F05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dist" defTabSz="914400"/>
              <a:r>
                <a:rPr lang="en-US" altLang="zh-CN" sz="1400" dirty="0">
                  <a:solidFill>
                    <a:srgbClr val="0F65B4"/>
                  </a:solidFill>
                  <a:cs typeface="+mn-ea"/>
                  <a:sym typeface="+mn-lt"/>
                </a:rPr>
                <a:t>Jpppt.com</a:t>
              </a:r>
            </a:p>
          </p:txBody>
        </p: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44168853-E355-430A-BEEB-45BFFA0DC82A}"/>
                </a:ext>
              </a:extLst>
            </p:cNvPr>
            <p:cNvSpPr/>
            <p:nvPr/>
          </p:nvSpPr>
          <p:spPr>
            <a:xfrm>
              <a:off x="423052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4" name="椭圆 23">
              <a:extLst>
                <a:ext uri="{FF2B5EF4-FFF2-40B4-BE49-F238E27FC236}">
                  <a16:creationId xmlns:a16="http://schemas.microsoft.com/office/drawing/2014/main" id="{805D7B7E-4A00-4830-8C2C-29340158B0CF}"/>
                </a:ext>
              </a:extLst>
            </p:cNvPr>
            <p:cNvSpPr/>
            <p:nvPr/>
          </p:nvSpPr>
          <p:spPr>
            <a:xfrm>
              <a:off x="2800384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0" name="Google Shape;287;p23">
            <a:extLst>
              <a:ext uri="{FF2B5EF4-FFF2-40B4-BE49-F238E27FC236}">
                <a16:creationId xmlns:a16="http://schemas.microsoft.com/office/drawing/2014/main" id="{59EAE3E7-1BEC-48CC-A6E6-EAD55F1017FE}"/>
              </a:ext>
            </a:extLst>
          </p:cNvPr>
          <p:cNvSpPr/>
          <p:nvPr/>
        </p:nvSpPr>
        <p:spPr>
          <a:xfrm>
            <a:off x="3290761" y="2208736"/>
            <a:ext cx="152173" cy="148113"/>
          </a:xfrm>
          <a:custGeom>
            <a:avLst/>
            <a:gdLst/>
            <a:ahLst/>
            <a:cxnLst/>
            <a:rect l="l" t="t" r="r" b="b"/>
            <a:pathLst>
              <a:path w="3561" h="3466" extrusionOk="0">
                <a:moveTo>
                  <a:pt x="1797" y="0"/>
                </a:moveTo>
                <a:cubicBezTo>
                  <a:pt x="789" y="0"/>
                  <a:pt x="1" y="788"/>
                  <a:pt x="1" y="1733"/>
                </a:cubicBezTo>
                <a:cubicBezTo>
                  <a:pt x="1" y="2710"/>
                  <a:pt x="789" y="3466"/>
                  <a:pt x="1797" y="3466"/>
                </a:cubicBezTo>
                <a:cubicBezTo>
                  <a:pt x="2773" y="3466"/>
                  <a:pt x="3561" y="2710"/>
                  <a:pt x="3561" y="1733"/>
                </a:cubicBezTo>
                <a:cubicBezTo>
                  <a:pt x="3561" y="788"/>
                  <a:pt x="2773" y="0"/>
                  <a:pt x="179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1" name="Google Shape;288;p23">
            <a:extLst>
              <a:ext uri="{FF2B5EF4-FFF2-40B4-BE49-F238E27FC236}">
                <a16:creationId xmlns:a16="http://schemas.microsoft.com/office/drawing/2014/main" id="{771E544F-BADE-42AF-A6DF-4714AB85BABC}"/>
              </a:ext>
            </a:extLst>
          </p:cNvPr>
          <p:cNvSpPr/>
          <p:nvPr/>
        </p:nvSpPr>
        <p:spPr>
          <a:xfrm>
            <a:off x="3469857" y="2032374"/>
            <a:ext cx="269305" cy="266613"/>
          </a:xfrm>
          <a:custGeom>
            <a:avLst/>
            <a:gdLst/>
            <a:ahLst/>
            <a:cxnLst/>
            <a:rect l="l" t="t" r="r" b="b"/>
            <a:pathLst>
              <a:path w="6302" h="6239" extrusionOk="0">
                <a:moveTo>
                  <a:pt x="3151" y="1355"/>
                </a:moveTo>
                <a:cubicBezTo>
                  <a:pt x="3749" y="1355"/>
                  <a:pt x="4159" y="1827"/>
                  <a:pt x="4159" y="2363"/>
                </a:cubicBezTo>
                <a:cubicBezTo>
                  <a:pt x="4159" y="2773"/>
                  <a:pt x="3970" y="3119"/>
                  <a:pt x="3623" y="3277"/>
                </a:cubicBezTo>
                <a:cubicBezTo>
                  <a:pt x="3529" y="3308"/>
                  <a:pt x="3497" y="3434"/>
                  <a:pt x="3497" y="3560"/>
                </a:cubicBezTo>
                <a:cubicBezTo>
                  <a:pt x="3497" y="3749"/>
                  <a:pt x="3340" y="3907"/>
                  <a:pt x="3151" y="3907"/>
                </a:cubicBezTo>
                <a:cubicBezTo>
                  <a:pt x="2962" y="3907"/>
                  <a:pt x="2804" y="3749"/>
                  <a:pt x="2804" y="3560"/>
                </a:cubicBezTo>
                <a:cubicBezTo>
                  <a:pt x="2804" y="3151"/>
                  <a:pt x="2993" y="2836"/>
                  <a:pt x="3308" y="2647"/>
                </a:cubicBezTo>
                <a:cubicBezTo>
                  <a:pt x="3434" y="2552"/>
                  <a:pt x="3497" y="2458"/>
                  <a:pt x="3497" y="2332"/>
                </a:cubicBezTo>
                <a:cubicBezTo>
                  <a:pt x="3497" y="2143"/>
                  <a:pt x="3340" y="1953"/>
                  <a:pt x="3151" y="1953"/>
                </a:cubicBezTo>
                <a:cubicBezTo>
                  <a:pt x="2962" y="1953"/>
                  <a:pt x="2804" y="2143"/>
                  <a:pt x="2804" y="2332"/>
                </a:cubicBezTo>
                <a:cubicBezTo>
                  <a:pt x="2804" y="2521"/>
                  <a:pt x="2646" y="2678"/>
                  <a:pt x="2426" y="2678"/>
                </a:cubicBezTo>
                <a:cubicBezTo>
                  <a:pt x="2237" y="2678"/>
                  <a:pt x="2079" y="2521"/>
                  <a:pt x="2079" y="2332"/>
                </a:cubicBezTo>
                <a:cubicBezTo>
                  <a:pt x="2079" y="1827"/>
                  <a:pt x="2552" y="1355"/>
                  <a:pt x="3151" y="1355"/>
                </a:cubicBezTo>
                <a:close/>
                <a:moveTo>
                  <a:pt x="3151" y="4096"/>
                </a:moveTo>
                <a:cubicBezTo>
                  <a:pt x="3340" y="4096"/>
                  <a:pt x="3497" y="4253"/>
                  <a:pt x="3497" y="4442"/>
                </a:cubicBezTo>
                <a:cubicBezTo>
                  <a:pt x="3497" y="4663"/>
                  <a:pt x="3340" y="4820"/>
                  <a:pt x="3151" y="4820"/>
                </a:cubicBezTo>
                <a:cubicBezTo>
                  <a:pt x="2962" y="4820"/>
                  <a:pt x="2804" y="4663"/>
                  <a:pt x="2804" y="4442"/>
                </a:cubicBezTo>
                <a:cubicBezTo>
                  <a:pt x="2804" y="4253"/>
                  <a:pt x="2962" y="4096"/>
                  <a:pt x="3151" y="4096"/>
                </a:cubicBezTo>
                <a:close/>
                <a:moveTo>
                  <a:pt x="3182" y="0"/>
                </a:moveTo>
                <a:cubicBezTo>
                  <a:pt x="1481" y="0"/>
                  <a:pt x="63" y="1418"/>
                  <a:pt x="63" y="3119"/>
                </a:cubicBezTo>
                <a:cubicBezTo>
                  <a:pt x="63" y="3655"/>
                  <a:pt x="189" y="4159"/>
                  <a:pt x="473" y="4663"/>
                </a:cubicBezTo>
                <a:lnTo>
                  <a:pt x="32" y="5766"/>
                </a:lnTo>
                <a:cubicBezTo>
                  <a:pt x="0" y="5860"/>
                  <a:pt x="32" y="5986"/>
                  <a:pt x="126" y="6112"/>
                </a:cubicBezTo>
                <a:cubicBezTo>
                  <a:pt x="189" y="6175"/>
                  <a:pt x="347" y="6238"/>
                  <a:pt x="473" y="6238"/>
                </a:cubicBezTo>
                <a:lnTo>
                  <a:pt x="1764" y="5892"/>
                </a:lnTo>
                <a:cubicBezTo>
                  <a:pt x="2205" y="6144"/>
                  <a:pt x="2678" y="6238"/>
                  <a:pt x="3182" y="6238"/>
                </a:cubicBezTo>
                <a:cubicBezTo>
                  <a:pt x="4915" y="6238"/>
                  <a:pt x="6301" y="4789"/>
                  <a:pt x="6301" y="3119"/>
                </a:cubicBezTo>
                <a:cubicBezTo>
                  <a:pt x="6301" y="1386"/>
                  <a:pt x="4883" y="0"/>
                  <a:pt x="3182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2" name="Google Shape;289;p23">
            <a:extLst>
              <a:ext uri="{FF2B5EF4-FFF2-40B4-BE49-F238E27FC236}">
                <a16:creationId xmlns:a16="http://schemas.microsoft.com/office/drawing/2014/main" id="{0D1FA921-E6EE-43BA-B1B0-E4DAD5BDFE86}"/>
              </a:ext>
            </a:extLst>
          </p:cNvPr>
          <p:cNvSpPr/>
          <p:nvPr/>
        </p:nvSpPr>
        <p:spPr>
          <a:xfrm flipH="1">
            <a:off x="1117274" y="2035400"/>
            <a:ext cx="2725651" cy="1178417"/>
          </a:xfrm>
          <a:custGeom>
            <a:avLst/>
            <a:gdLst/>
            <a:ahLst/>
            <a:cxnLst/>
            <a:rect l="l" t="t" r="r" b="b"/>
            <a:pathLst>
              <a:path w="15529" h="7470" extrusionOk="0">
                <a:moveTo>
                  <a:pt x="2156" y="1"/>
                </a:moveTo>
                <a:lnTo>
                  <a:pt x="0" y="3735"/>
                </a:lnTo>
                <a:lnTo>
                  <a:pt x="2156" y="7470"/>
                </a:lnTo>
                <a:lnTo>
                  <a:pt x="13303" y="7470"/>
                </a:lnTo>
                <a:cubicBezTo>
                  <a:pt x="13356" y="7470"/>
                  <a:pt x="13405" y="7441"/>
                  <a:pt x="13432" y="7396"/>
                </a:cubicBezTo>
                <a:lnTo>
                  <a:pt x="15503" y="3810"/>
                </a:lnTo>
                <a:cubicBezTo>
                  <a:pt x="15529" y="3763"/>
                  <a:pt x="15529" y="3707"/>
                  <a:pt x="15503" y="3661"/>
                </a:cubicBezTo>
                <a:lnTo>
                  <a:pt x="13432" y="75"/>
                </a:lnTo>
                <a:cubicBezTo>
                  <a:pt x="13405" y="30"/>
                  <a:pt x="13356" y="1"/>
                  <a:pt x="13303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3" name="Google Shape;290;p23">
            <a:extLst>
              <a:ext uri="{FF2B5EF4-FFF2-40B4-BE49-F238E27FC236}">
                <a16:creationId xmlns:a16="http://schemas.microsoft.com/office/drawing/2014/main" id="{DB607A7A-8B2A-4A67-973A-A6F5AD0C0084}"/>
              </a:ext>
            </a:extLst>
          </p:cNvPr>
          <p:cNvSpPr/>
          <p:nvPr/>
        </p:nvSpPr>
        <p:spPr>
          <a:xfrm flipH="1">
            <a:off x="3409230" y="2035415"/>
            <a:ext cx="865635" cy="1178417"/>
          </a:xfrm>
          <a:custGeom>
            <a:avLst/>
            <a:gdLst/>
            <a:ahLst/>
            <a:cxnLst/>
            <a:rect l="l" t="t" r="r" b="b"/>
            <a:pathLst>
              <a:path w="4894" h="7470" extrusionOk="0">
                <a:moveTo>
                  <a:pt x="2200" y="1"/>
                </a:moveTo>
                <a:cubicBezTo>
                  <a:pt x="2166" y="1"/>
                  <a:pt x="2136" y="19"/>
                  <a:pt x="2119" y="48"/>
                </a:cubicBezTo>
                <a:lnTo>
                  <a:pt x="17" y="3689"/>
                </a:lnTo>
                <a:cubicBezTo>
                  <a:pt x="0" y="3718"/>
                  <a:pt x="0" y="3754"/>
                  <a:pt x="17" y="3782"/>
                </a:cubicBezTo>
                <a:lnTo>
                  <a:pt x="2119" y="7423"/>
                </a:lnTo>
                <a:cubicBezTo>
                  <a:pt x="2136" y="7451"/>
                  <a:pt x="2166" y="7470"/>
                  <a:pt x="2200" y="7470"/>
                </a:cubicBezTo>
                <a:lnTo>
                  <a:pt x="4894" y="7470"/>
                </a:lnTo>
                <a:lnTo>
                  <a:pt x="2738" y="3735"/>
                </a:lnTo>
                <a:lnTo>
                  <a:pt x="4894" y="1"/>
                </a:ln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" name="Google Shape;291;p23">
            <a:extLst>
              <a:ext uri="{FF2B5EF4-FFF2-40B4-BE49-F238E27FC236}">
                <a16:creationId xmlns:a16="http://schemas.microsoft.com/office/drawing/2014/main" id="{BB13A76F-350C-445F-ACB9-FCD777317E81}"/>
              </a:ext>
            </a:extLst>
          </p:cNvPr>
          <p:cNvSpPr/>
          <p:nvPr/>
        </p:nvSpPr>
        <p:spPr>
          <a:xfrm flipH="1">
            <a:off x="1276405" y="2371110"/>
            <a:ext cx="533217" cy="492821"/>
          </a:xfrm>
          <a:custGeom>
            <a:avLst/>
            <a:gdLst/>
            <a:ahLst/>
            <a:cxnLst/>
            <a:rect l="l" t="t" r="r" b="b"/>
            <a:pathLst>
              <a:path w="3380" h="3124" extrusionOk="0">
                <a:moveTo>
                  <a:pt x="1689" y="0"/>
                </a:moveTo>
                <a:cubicBezTo>
                  <a:pt x="1594" y="0"/>
                  <a:pt x="1496" y="9"/>
                  <a:pt x="1399" y="28"/>
                </a:cubicBezTo>
                <a:cubicBezTo>
                  <a:pt x="555" y="188"/>
                  <a:pt x="0" y="1004"/>
                  <a:pt x="160" y="1852"/>
                </a:cubicBezTo>
                <a:cubicBezTo>
                  <a:pt x="302" y="2601"/>
                  <a:pt x="956" y="3123"/>
                  <a:pt x="1690" y="3123"/>
                </a:cubicBezTo>
                <a:cubicBezTo>
                  <a:pt x="1786" y="3123"/>
                  <a:pt x="1883" y="3114"/>
                  <a:pt x="1980" y="3096"/>
                </a:cubicBezTo>
                <a:cubicBezTo>
                  <a:pt x="2825" y="2936"/>
                  <a:pt x="3379" y="2120"/>
                  <a:pt x="3219" y="1272"/>
                </a:cubicBezTo>
                <a:cubicBezTo>
                  <a:pt x="3077" y="523"/>
                  <a:pt x="2423" y="0"/>
                  <a:pt x="1689" y="0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">
                <a:solidFill>
                  <a:prstClr val="white"/>
                </a:solidFill>
                <a:cs typeface="+mn-ea"/>
                <a:sym typeface="+mn-lt"/>
              </a:rPr>
              <a:t>S</a:t>
            </a: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5" name="Google Shape;293;p23">
            <a:extLst>
              <a:ext uri="{FF2B5EF4-FFF2-40B4-BE49-F238E27FC236}">
                <a16:creationId xmlns:a16="http://schemas.microsoft.com/office/drawing/2014/main" id="{FF375881-206E-44B0-80DF-68C1A377A04A}"/>
              </a:ext>
            </a:extLst>
          </p:cNvPr>
          <p:cNvSpPr/>
          <p:nvPr/>
        </p:nvSpPr>
        <p:spPr>
          <a:xfrm flipH="1">
            <a:off x="1122357" y="4468909"/>
            <a:ext cx="2725825" cy="1178417"/>
          </a:xfrm>
          <a:custGeom>
            <a:avLst/>
            <a:gdLst/>
            <a:ahLst/>
            <a:cxnLst/>
            <a:rect l="l" t="t" r="r" b="b"/>
            <a:pathLst>
              <a:path w="15530" h="7470" extrusionOk="0">
                <a:moveTo>
                  <a:pt x="2157" y="0"/>
                </a:moveTo>
                <a:lnTo>
                  <a:pt x="1" y="3735"/>
                </a:lnTo>
                <a:lnTo>
                  <a:pt x="2157" y="7469"/>
                </a:lnTo>
                <a:lnTo>
                  <a:pt x="13304" y="7469"/>
                </a:lnTo>
                <a:cubicBezTo>
                  <a:pt x="13357" y="7469"/>
                  <a:pt x="13406" y="7441"/>
                  <a:pt x="13432" y="7395"/>
                </a:cubicBezTo>
                <a:lnTo>
                  <a:pt x="15502" y="3809"/>
                </a:lnTo>
                <a:cubicBezTo>
                  <a:pt x="15529" y="3763"/>
                  <a:pt x="15529" y="3707"/>
                  <a:pt x="15502" y="3660"/>
                </a:cubicBezTo>
                <a:lnTo>
                  <a:pt x="13432" y="74"/>
                </a:lnTo>
                <a:cubicBezTo>
                  <a:pt x="13406" y="29"/>
                  <a:pt x="13357" y="0"/>
                  <a:pt x="1330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6" name="Google Shape;294;p23">
            <a:extLst>
              <a:ext uri="{FF2B5EF4-FFF2-40B4-BE49-F238E27FC236}">
                <a16:creationId xmlns:a16="http://schemas.microsoft.com/office/drawing/2014/main" id="{9216CB5A-4158-4945-BA13-96EDCD0445E2}"/>
              </a:ext>
            </a:extLst>
          </p:cNvPr>
          <p:cNvSpPr/>
          <p:nvPr/>
        </p:nvSpPr>
        <p:spPr>
          <a:xfrm flipH="1">
            <a:off x="3515570" y="4468903"/>
            <a:ext cx="860563" cy="1178417"/>
          </a:xfrm>
          <a:custGeom>
            <a:avLst/>
            <a:gdLst/>
            <a:ahLst/>
            <a:cxnLst/>
            <a:rect l="l" t="t" r="r" b="b"/>
            <a:pathLst>
              <a:path w="5455" h="7470" extrusionOk="0">
                <a:moveTo>
                  <a:pt x="2200" y="0"/>
                </a:moveTo>
                <a:cubicBezTo>
                  <a:pt x="2165" y="0"/>
                  <a:pt x="2135" y="19"/>
                  <a:pt x="2118" y="47"/>
                </a:cubicBezTo>
                <a:lnTo>
                  <a:pt x="17" y="3688"/>
                </a:lnTo>
                <a:cubicBezTo>
                  <a:pt x="0" y="3717"/>
                  <a:pt x="0" y="3753"/>
                  <a:pt x="17" y="3782"/>
                </a:cubicBezTo>
                <a:lnTo>
                  <a:pt x="2118" y="7422"/>
                </a:lnTo>
                <a:cubicBezTo>
                  <a:pt x="2135" y="7451"/>
                  <a:pt x="2165" y="7469"/>
                  <a:pt x="2200" y="7469"/>
                </a:cubicBezTo>
                <a:lnTo>
                  <a:pt x="5455" y="7469"/>
                </a:lnTo>
                <a:lnTo>
                  <a:pt x="3299" y="3735"/>
                </a:lnTo>
                <a:lnTo>
                  <a:pt x="5455" y="0"/>
                </a:ln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7" name="Google Shape;295;p23">
            <a:extLst>
              <a:ext uri="{FF2B5EF4-FFF2-40B4-BE49-F238E27FC236}">
                <a16:creationId xmlns:a16="http://schemas.microsoft.com/office/drawing/2014/main" id="{14D9A00C-13E6-48C6-8CCC-AAFEBEFAB430}"/>
              </a:ext>
            </a:extLst>
          </p:cNvPr>
          <p:cNvSpPr/>
          <p:nvPr/>
        </p:nvSpPr>
        <p:spPr>
          <a:xfrm flipH="1">
            <a:off x="1352747" y="4811622"/>
            <a:ext cx="533217" cy="492979"/>
          </a:xfrm>
          <a:custGeom>
            <a:avLst/>
            <a:gdLst/>
            <a:ahLst/>
            <a:cxnLst/>
            <a:rect l="l" t="t" r="r" b="b"/>
            <a:pathLst>
              <a:path w="3380" h="3125" extrusionOk="0">
                <a:moveTo>
                  <a:pt x="1689" y="1"/>
                </a:moveTo>
                <a:cubicBezTo>
                  <a:pt x="1594" y="1"/>
                  <a:pt x="1497" y="10"/>
                  <a:pt x="1399" y="28"/>
                </a:cubicBezTo>
                <a:cubicBezTo>
                  <a:pt x="555" y="188"/>
                  <a:pt x="0" y="1004"/>
                  <a:pt x="160" y="1852"/>
                </a:cubicBezTo>
                <a:cubicBezTo>
                  <a:pt x="302" y="2601"/>
                  <a:pt x="956" y="3125"/>
                  <a:pt x="1690" y="3125"/>
                </a:cubicBezTo>
                <a:cubicBezTo>
                  <a:pt x="1786" y="3125"/>
                  <a:pt x="1883" y="3116"/>
                  <a:pt x="1981" y="3097"/>
                </a:cubicBezTo>
                <a:cubicBezTo>
                  <a:pt x="2825" y="2937"/>
                  <a:pt x="3379" y="2120"/>
                  <a:pt x="3219" y="1273"/>
                </a:cubicBezTo>
                <a:cubicBezTo>
                  <a:pt x="3077" y="523"/>
                  <a:pt x="2424" y="1"/>
                  <a:pt x="1689" y="1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">
                <a:solidFill>
                  <a:prstClr val="white"/>
                </a:solidFill>
                <a:cs typeface="+mn-ea"/>
                <a:sym typeface="+mn-lt"/>
              </a:rPr>
              <a:t>T</a:t>
            </a: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8" name="Google Shape;297;p23">
            <a:extLst>
              <a:ext uri="{FF2B5EF4-FFF2-40B4-BE49-F238E27FC236}">
                <a16:creationId xmlns:a16="http://schemas.microsoft.com/office/drawing/2014/main" id="{5F5F09EB-6BE1-4402-BD16-37208FA035DE}"/>
              </a:ext>
            </a:extLst>
          </p:cNvPr>
          <p:cNvSpPr/>
          <p:nvPr/>
        </p:nvSpPr>
        <p:spPr>
          <a:xfrm flipH="1">
            <a:off x="8463350" y="2035399"/>
            <a:ext cx="2725644" cy="1178443"/>
          </a:xfrm>
          <a:custGeom>
            <a:avLst/>
            <a:gdLst/>
            <a:ahLst/>
            <a:cxnLst/>
            <a:rect l="l" t="t" r="r" b="b"/>
            <a:pathLst>
              <a:path w="15380" h="7470" extrusionOk="0">
                <a:moveTo>
                  <a:pt x="2226" y="1"/>
                </a:moveTo>
                <a:cubicBezTo>
                  <a:pt x="2173" y="1"/>
                  <a:pt x="2124" y="30"/>
                  <a:pt x="2098" y="75"/>
                </a:cubicBezTo>
                <a:lnTo>
                  <a:pt x="27" y="3661"/>
                </a:lnTo>
                <a:cubicBezTo>
                  <a:pt x="1" y="3707"/>
                  <a:pt x="1" y="3763"/>
                  <a:pt x="27" y="3810"/>
                </a:cubicBezTo>
                <a:lnTo>
                  <a:pt x="2098" y="7396"/>
                </a:lnTo>
                <a:cubicBezTo>
                  <a:pt x="2124" y="7441"/>
                  <a:pt x="2173" y="7470"/>
                  <a:pt x="2226" y="7470"/>
                </a:cubicBezTo>
                <a:lnTo>
                  <a:pt x="13223" y="7470"/>
                </a:lnTo>
                <a:lnTo>
                  <a:pt x="15379" y="3735"/>
                </a:lnTo>
                <a:lnTo>
                  <a:pt x="13223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9" name="Google Shape;298;p23">
            <a:extLst>
              <a:ext uri="{FF2B5EF4-FFF2-40B4-BE49-F238E27FC236}">
                <a16:creationId xmlns:a16="http://schemas.microsoft.com/office/drawing/2014/main" id="{55845503-3999-4FF0-A155-7F56A8F29CD0}"/>
              </a:ext>
            </a:extLst>
          </p:cNvPr>
          <p:cNvSpPr/>
          <p:nvPr/>
        </p:nvSpPr>
        <p:spPr>
          <a:xfrm flipH="1">
            <a:off x="7940665" y="2035415"/>
            <a:ext cx="860720" cy="1178417"/>
          </a:xfrm>
          <a:custGeom>
            <a:avLst/>
            <a:gdLst/>
            <a:ahLst/>
            <a:cxnLst/>
            <a:rect l="l" t="t" r="r" b="b"/>
            <a:pathLst>
              <a:path w="5456" h="7470" extrusionOk="0">
                <a:moveTo>
                  <a:pt x="0" y="1"/>
                </a:moveTo>
                <a:lnTo>
                  <a:pt x="2156" y="3735"/>
                </a:lnTo>
                <a:lnTo>
                  <a:pt x="0" y="7470"/>
                </a:lnTo>
                <a:lnTo>
                  <a:pt x="3255" y="7470"/>
                </a:lnTo>
                <a:cubicBezTo>
                  <a:pt x="3290" y="7470"/>
                  <a:pt x="3320" y="7451"/>
                  <a:pt x="3337" y="7423"/>
                </a:cubicBezTo>
                <a:lnTo>
                  <a:pt x="5438" y="3782"/>
                </a:lnTo>
                <a:cubicBezTo>
                  <a:pt x="5456" y="3754"/>
                  <a:pt x="5456" y="3718"/>
                  <a:pt x="5438" y="3689"/>
                </a:cubicBezTo>
                <a:lnTo>
                  <a:pt x="3337" y="48"/>
                </a:lnTo>
                <a:cubicBezTo>
                  <a:pt x="3320" y="19"/>
                  <a:pt x="3290" y="1"/>
                  <a:pt x="3255" y="1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5" name="Google Shape;299;p23">
            <a:extLst>
              <a:ext uri="{FF2B5EF4-FFF2-40B4-BE49-F238E27FC236}">
                <a16:creationId xmlns:a16="http://schemas.microsoft.com/office/drawing/2014/main" id="{6C166D4A-7EDD-41D8-9927-13E026228E6A}"/>
              </a:ext>
            </a:extLst>
          </p:cNvPr>
          <p:cNvSpPr/>
          <p:nvPr/>
        </p:nvSpPr>
        <p:spPr>
          <a:xfrm flipH="1">
            <a:off x="10396135" y="2371110"/>
            <a:ext cx="533375" cy="492821"/>
          </a:xfrm>
          <a:custGeom>
            <a:avLst/>
            <a:gdLst/>
            <a:ahLst/>
            <a:cxnLst/>
            <a:rect l="l" t="t" r="r" b="b"/>
            <a:pathLst>
              <a:path w="3381" h="3124" extrusionOk="0">
                <a:moveTo>
                  <a:pt x="1691" y="0"/>
                </a:moveTo>
                <a:cubicBezTo>
                  <a:pt x="1595" y="0"/>
                  <a:pt x="1498" y="9"/>
                  <a:pt x="1400" y="28"/>
                </a:cubicBezTo>
                <a:cubicBezTo>
                  <a:pt x="556" y="188"/>
                  <a:pt x="1" y="1004"/>
                  <a:pt x="161" y="1852"/>
                </a:cubicBezTo>
                <a:cubicBezTo>
                  <a:pt x="304" y="2601"/>
                  <a:pt x="957" y="3123"/>
                  <a:pt x="1691" y="3123"/>
                </a:cubicBezTo>
                <a:cubicBezTo>
                  <a:pt x="1787" y="3123"/>
                  <a:pt x="1884" y="3114"/>
                  <a:pt x="1981" y="3096"/>
                </a:cubicBezTo>
                <a:cubicBezTo>
                  <a:pt x="2826" y="2936"/>
                  <a:pt x="3381" y="2120"/>
                  <a:pt x="3220" y="1272"/>
                </a:cubicBezTo>
                <a:cubicBezTo>
                  <a:pt x="3079" y="523"/>
                  <a:pt x="2425" y="0"/>
                  <a:pt x="1691" y="0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" dirty="0">
                <a:solidFill>
                  <a:prstClr val="white"/>
                </a:solidFill>
                <a:cs typeface="+mn-ea"/>
                <a:sym typeface="+mn-lt"/>
              </a:rPr>
              <a:t>A</a:t>
            </a:r>
            <a:endParaRPr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9" name="Google Shape;301;p23">
            <a:extLst>
              <a:ext uri="{FF2B5EF4-FFF2-40B4-BE49-F238E27FC236}">
                <a16:creationId xmlns:a16="http://schemas.microsoft.com/office/drawing/2014/main" id="{EA54FA8B-9D07-4BD7-A437-C3498BB57F34}"/>
              </a:ext>
            </a:extLst>
          </p:cNvPr>
          <p:cNvSpPr/>
          <p:nvPr/>
        </p:nvSpPr>
        <p:spPr>
          <a:xfrm flipH="1">
            <a:off x="8463350" y="4468877"/>
            <a:ext cx="2725825" cy="1178443"/>
          </a:xfrm>
          <a:custGeom>
            <a:avLst/>
            <a:gdLst/>
            <a:ahLst/>
            <a:cxnLst/>
            <a:rect l="l" t="t" r="r" b="b"/>
            <a:pathLst>
              <a:path w="15379" h="7470" extrusionOk="0">
                <a:moveTo>
                  <a:pt x="2226" y="0"/>
                </a:moveTo>
                <a:cubicBezTo>
                  <a:pt x="2173" y="0"/>
                  <a:pt x="2124" y="29"/>
                  <a:pt x="2097" y="74"/>
                </a:cubicBezTo>
                <a:lnTo>
                  <a:pt x="27" y="3660"/>
                </a:lnTo>
                <a:cubicBezTo>
                  <a:pt x="0" y="3707"/>
                  <a:pt x="0" y="3763"/>
                  <a:pt x="27" y="3809"/>
                </a:cubicBezTo>
                <a:lnTo>
                  <a:pt x="2097" y="7395"/>
                </a:lnTo>
                <a:cubicBezTo>
                  <a:pt x="2124" y="7441"/>
                  <a:pt x="2173" y="7469"/>
                  <a:pt x="2226" y="7469"/>
                </a:cubicBezTo>
                <a:lnTo>
                  <a:pt x="13223" y="7469"/>
                </a:lnTo>
                <a:lnTo>
                  <a:pt x="15379" y="3735"/>
                </a:lnTo>
                <a:lnTo>
                  <a:pt x="1322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30" name="Google Shape;302;p23">
            <a:extLst>
              <a:ext uri="{FF2B5EF4-FFF2-40B4-BE49-F238E27FC236}">
                <a16:creationId xmlns:a16="http://schemas.microsoft.com/office/drawing/2014/main" id="{36DF2329-6EC1-4EC9-96FA-C791169F51CE}"/>
              </a:ext>
            </a:extLst>
          </p:cNvPr>
          <p:cNvSpPr/>
          <p:nvPr/>
        </p:nvSpPr>
        <p:spPr>
          <a:xfrm flipH="1">
            <a:off x="7942922" y="4468880"/>
            <a:ext cx="860563" cy="1178417"/>
          </a:xfrm>
          <a:custGeom>
            <a:avLst/>
            <a:gdLst/>
            <a:ahLst/>
            <a:cxnLst/>
            <a:rect l="l" t="t" r="r" b="b"/>
            <a:pathLst>
              <a:path w="5455" h="7470" extrusionOk="0">
                <a:moveTo>
                  <a:pt x="0" y="0"/>
                </a:moveTo>
                <a:lnTo>
                  <a:pt x="2156" y="3735"/>
                </a:lnTo>
                <a:lnTo>
                  <a:pt x="0" y="7469"/>
                </a:lnTo>
                <a:lnTo>
                  <a:pt x="3255" y="7469"/>
                </a:lnTo>
                <a:cubicBezTo>
                  <a:pt x="3288" y="7469"/>
                  <a:pt x="3320" y="7451"/>
                  <a:pt x="3336" y="7422"/>
                </a:cubicBezTo>
                <a:lnTo>
                  <a:pt x="5438" y="3782"/>
                </a:lnTo>
                <a:cubicBezTo>
                  <a:pt x="5455" y="3753"/>
                  <a:pt x="5455" y="3717"/>
                  <a:pt x="5438" y="3688"/>
                </a:cubicBezTo>
                <a:lnTo>
                  <a:pt x="3336" y="47"/>
                </a:lnTo>
                <a:cubicBezTo>
                  <a:pt x="3320" y="19"/>
                  <a:pt x="3288" y="0"/>
                  <a:pt x="3255" y="0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31" name="Google Shape;303;p23">
            <a:extLst>
              <a:ext uri="{FF2B5EF4-FFF2-40B4-BE49-F238E27FC236}">
                <a16:creationId xmlns:a16="http://schemas.microsoft.com/office/drawing/2014/main" id="{6058DCAC-3C57-446E-8D08-6F3A0D9AD975}"/>
              </a:ext>
            </a:extLst>
          </p:cNvPr>
          <p:cNvSpPr/>
          <p:nvPr/>
        </p:nvSpPr>
        <p:spPr>
          <a:xfrm flipH="1">
            <a:off x="10420794" y="4811599"/>
            <a:ext cx="533217" cy="492979"/>
          </a:xfrm>
          <a:custGeom>
            <a:avLst/>
            <a:gdLst/>
            <a:ahLst/>
            <a:cxnLst/>
            <a:rect l="l" t="t" r="r" b="b"/>
            <a:pathLst>
              <a:path w="3380" h="3125" extrusionOk="0">
                <a:moveTo>
                  <a:pt x="1689" y="1"/>
                </a:moveTo>
                <a:cubicBezTo>
                  <a:pt x="1593" y="1"/>
                  <a:pt x="1496" y="10"/>
                  <a:pt x="1399" y="28"/>
                </a:cubicBezTo>
                <a:cubicBezTo>
                  <a:pt x="555" y="189"/>
                  <a:pt x="0" y="1005"/>
                  <a:pt x="160" y="1852"/>
                </a:cubicBezTo>
                <a:cubicBezTo>
                  <a:pt x="302" y="2602"/>
                  <a:pt x="956" y="3125"/>
                  <a:pt x="1690" y="3125"/>
                </a:cubicBezTo>
                <a:cubicBezTo>
                  <a:pt x="1786" y="3125"/>
                  <a:pt x="1883" y="3116"/>
                  <a:pt x="1980" y="3097"/>
                </a:cubicBezTo>
                <a:cubicBezTo>
                  <a:pt x="2825" y="2937"/>
                  <a:pt x="3379" y="2121"/>
                  <a:pt x="3219" y="1273"/>
                </a:cubicBezTo>
                <a:cubicBezTo>
                  <a:pt x="3077" y="524"/>
                  <a:pt x="2423" y="1"/>
                  <a:pt x="1689" y="1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">
                <a:solidFill>
                  <a:prstClr val="white"/>
                </a:solidFill>
                <a:cs typeface="+mn-ea"/>
                <a:sym typeface="+mn-lt"/>
              </a:rPr>
              <a:t>R</a:t>
            </a: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3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E0AD18D0-545D-4DE2-BDFC-530E6C8C9C40}"/>
              </a:ext>
            </a:extLst>
          </p:cNvPr>
          <p:cNvSpPr txBox="1"/>
          <p:nvPr/>
        </p:nvSpPr>
        <p:spPr>
          <a:xfrm>
            <a:off x="1979228" y="2303772"/>
            <a:ext cx="1389866" cy="7318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3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019F5CF3-EFEF-4599-994D-C298011D8145}"/>
              </a:ext>
            </a:extLst>
          </p:cNvPr>
          <p:cNvSpPr txBox="1"/>
          <p:nvPr/>
        </p:nvSpPr>
        <p:spPr>
          <a:xfrm>
            <a:off x="2026359" y="4772931"/>
            <a:ext cx="1389866" cy="7318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3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0DBBD736-35F5-4D71-822B-64AAC46E2E7A}"/>
              </a:ext>
            </a:extLst>
          </p:cNvPr>
          <p:cNvSpPr txBox="1"/>
          <p:nvPr/>
        </p:nvSpPr>
        <p:spPr>
          <a:xfrm>
            <a:off x="8903827" y="2250207"/>
            <a:ext cx="1389866" cy="7318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40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53E30369-7108-4F27-A4F0-3961AB76C788}"/>
              </a:ext>
            </a:extLst>
          </p:cNvPr>
          <p:cNvSpPr txBox="1"/>
          <p:nvPr/>
        </p:nvSpPr>
        <p:spPr>
          <a:xfrm>
            <a:off x="9006269" y="4690775"/>
            <a:ext cx="1389866" cy="7318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4E8A5283-797E-47F3-AD13-2A342667936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69399" y="1850524"/>
            <a:ext cx="3922965" cy="3922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82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a14="http://schemas.microsoft.com/office/drawing/2010/main" xmlns:ma14="http://schemas.microsoft.com/office/mac/drawingml/2011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8" grpId="0" animBg="1"/>
      <p:bldP spid="39" grpId="0" animBg="1"/>
      <p:bldP spid="4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C4335FAC-FD00-40C5-A6D8-206FEC2616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34ABA11-9DA7-4A30-B756-B4CDCA30681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4291" y="821802"/>
            <a:ext cx="5932025" cy="5932025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E20E13C6-DA20-4F75-87DC-6765B3CBCC1B}"/>
              </a:ext>
            </a:extLst>
          </p:cNvPr>
          <p:cNvSpPr txBox="1"/>
          <p:nvPr/>
        </p:nvSpPr>
        <p:spPr>
          <a:xfrm>
            <a:off x="1214548" y="3500829"/>
            <a:ext cx="399405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0" dirty="0">
                <a:solidFill>
                  <a:srgbClr val="0D3787"/>
                </a:solidFill>
                <a:cs typeface="+mn-ea"/>
                <a:sym typeface="+mn-lt"/>
              </a:rPr>
              <a:t>Part five</a:t>
            </a:r>
            <a:endParaRPr lang="zh-CN" altLang="en-US" sz="6000" dirty="0"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C7176937-2DCB-42A7-B005-E35BE77C9737}"/>
              </a:ext>
            </a:extLst>
          </p:cNvPr>
          <p:cNvSpPr txBox="1"/>
          <p:nvPr/>
        </p:nvSpPr>
        <p:spPr>
          <a:xfrm>
            <a:off x="1499049" y="4564873"/>
            <a:ext cx="2295615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rgbClr val="6C79BA"/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rgbClr val="6C79BA"/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rgbClr val="6C79BA"/>
                </a:solidFill>
                <a:cs typeface="+mn-ea"/>
                <a:sym typeface="+mn-lt"/>
              </a:rPr>
              <a:t> Synergistically utilize technically sound</a:t>
            </a:r>
          </a:p>
        </p:txBody>
      </p:sp>
      <p:sp>
        <p:nvSpPr>
          <p:cNvPr id="10" name="îṧ1ïḋé">
            <a:extLst>
              <a:ext uri="{FF2B5EF4-FFF2-40B4-BE49-F238E27FC236}">
                <a16:creationId xmlns:a16="http://schemas.microsoft.com/office/drawing/2014/main" id="{B5AA5A13-C86E-4C8D-892A-E7CB32ABCC28}"/>
              </a:ext>
            </a:extLst>
          </p:cNvPr>
          <p:cNvSpPr/>
          <p:nvPr/>
        </p:nvSpPr>
        <p:spPr>
          <a:xfrm>
            <a:off x="6290047" y="1778603"/>
            <a:ext cx="2001014" cy="3693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dist" defTabSz="914400"/>
            <a:r>
              <a:rPr lang="en-US" altLang="zh-CN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11" name="îṧ1ïḋé">
            <a:extLst>
              <a:ext uri="{FF2B5EF4-FFF2-40B4-BE49-F238E27FC236}">
                <a16:creationId xmlns:a16="http://schemas.microsoft.com/office/drawing/2014/main" id="{E2B097BA-B194-42C3-945F-386A7AFB144D}"/>
              </a:ext>
            </a:extLst>
          </p:cNvPr>
          <p:cNvSpPr/>
          <p:nvPr/>
        </p:nvSpPr>
        <p:spPr>
          <a:xfrm>
            <a:off x="669362" y="5894083"/>
            <a:ext cx="1402506" cy="369332"/>
          </a:xfrm>
          <a:prstGeom prst="roundRect">
            <a:avLst>
              <a:gd name="adj" fmla="val 50000"/>
            </a:avLst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dist" defTabSz="914400"/>
            <a:r>
              <a:rPr lang="en-US" altLang="zh-CN" sz="1050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17" name="Google Shape;537;p25">
            <a:extLst>
              <a:ext uri="{FF2B5EF4-FFF2-40B4-BE49-F238E27FC236}">
                <a16:creationId xmlns:a16="http://schemas.microsoft.com/office/drawing/2014/main" id="{1B5B09E6-268C-4B46-B540-347AB4A2DA78}"/>
              </a:ext>
            </a:extLst>
          </p:cNvPr>
          <p:cNvSpPr/>
          <p:nvPr/>
        </p:nvSpPr>
        <p:spPr>
          <a:xfrm rot="9266724">
            <a:off x="1040517" y="3729707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18" name="Google Shape;537;p25">
            <a:extLst>
              <a:ext uri="{FF2B5EF4-FFF2-40B4-BE49-F238E27FC236}">
                <a16:creationId xmlns:a16="http://schemas.microsoft.com/office/drawing/2014/main" id="{64B96D6A-0797-43A8-8899-A198C70273FF}"/>
              </a:ext>
            </a:extLst>
          </p:cNvPr>
          <p:cNvSpPr/>
          <p:nvPr/>
        </p:nvSpPr>
        <p:spPr>
          <a:xfrm rot="9266724">
            <a:off x="1040518" y="4129346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19" name="Google Shape;537;p25">
            <a:extLst>
              <a:ext uri="{FF2B5EF4-FFF2-40B4-BE49-F238E27FC236}">
                <a16:creationId xmlns:a16="http://schemas.microsoft.com/office/drawing/2014/main" id="{ED1E0558-0E69-4E53-AA22-626E687EFDF4}"/>
              </a:ext>
            </a:extLst>
          </p:cNvPr>
          <p:cNvSpPr/>
          <p:nvPr/>
        </p:nvSpPr>
        <p:spPr>
          <a:xfrm rot="9266724">
            <a:off x="1035455" y="4497491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1E3B8DD1-2F92-4F83-8407-FDB8D761047C}"/>
              </a:ext>
            </a:extLst>
          </p:cNvPr>
          <p:cNvGrpSpPr/>
          <p:nvPr/>
        </p:nvGrpSpPr>
        <p:grpSpPr>
          <a:xfrm rot="5400000">
            <a:off x="2021183" y="1062538"/>
            <a:ext cx="101370" cy="1330760"/>
            <a:chOff x="508216" y="2820579"/>
            <a:chExt cx="196770" cy="2583143"/>
          </a:xfrm>
          <a:solidFill>
            <a:srgbClr val="6C79BA"/>
          </a:solidFill>
        </p:grpSpPr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6DBCC032-C228-4F00-8BC9-6ABB576FCEF8}"/>
                </a:ext>
              </a:extLst>
            </p:cNvPr>
            <p:cNvSpPr/>
            <p:nvPr/>
          </p:nvSpPr>
          <p:spPr>
            <a:xfrm>
              <a:off x="508217" y="2820579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22" name="直接连接符 21">
              <a:extLst>
                <a:ext uri="{FF2B5EF4-FFF2-40B4-BE49-F238E27FC236}">
                  <a16:creationId xmlns:a16="http://schemas.microsoft.com/office/drawing/2014/main" id="{E4D16014-6217-45B2-BCF4-4920A867A4E0}"/>
                </a:ext>
              </a:extLst>
            </p:cNvPr>
            <p:cNvCxnSpPr/>
            <p:nvPr/>
          </p:nvCxnSpPr>
          <p:spPr>
            <a:xfrm>
              <a:off x="606601" y="3222594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C1AF9D28-6155-4F6A-B7ED-1E6CEAA00082}"/>
                </a:ext>
              </a:extLst>
            </p:cNvPr>
            <p:cNvSpPr/>
            <p:nvPr/>
          </p:nvSpPr>
          <p:spPr>
            <a:xfrm>
              <a:off x="508216" y="4013766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24" name="直接连接符 23">
              <a:extLst>
                <a:ext uri="{FF2B5EF4-FFF2-40B4-BE49-F238E27FC236}">
                  <a16:creationId xmlns:a16="http://schemas.microsoft.com/office/drawing/2014/main" id="{E8474D1B-8FBF-46CF-A281-929109FC8004}"/>
                </a:ext>
              </a:extLst>
            </p:cNvPr>
            <p:cNvCxnSpPr/>
            <p:nvPr/>
          </p:nvCxnSpPr>
          <p:spPr>
            <a:xfrm>
              <a:off x="606600" y="4415781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椭圆 24">
              <a:extLst>
                <a:ext uri="{FF2B5EF4-FFF2-40B4-BE49-F238E27FC236}">
                  <a16:creationId xmlns:a16="http://schemas.microsoft.com/office/drawing/2014/main" id="{26D179B6-2BD4-4139-BD98-D13AAE8269DB}"/>
                </a:ext>
              </a:extLst>
            </p:cNvPr>
            <p:cNvSpPr/>
            <p:nvPr/>
          </p:nvSpPr>
          <p:spPr>
            <a:xfrm>
              <a:off x="508216" y="5206953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2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D572736F-DD32-4722-A86F-D5529A5B60F6}"/>
              </a:ext>
            </a:extLst>
          </p:cNvPr>
          <p:cNvSpPr txBox="1"/>
          <p:nvPr/>
        </p:nvSpPr>
        <p:spPr>
          <a:xfrm>
            <a:off x="1417897" y="1049503"/>
            <a:ext cx="1307939" cy="3991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600" kern="0" dirty="0">
                <a:solidFill>
                  <a:srgbClr val="6C79BA"/>
                </a:solidFill>
                <a:cs typeface="+mn-ea"/>
                <a:sym typeface="+mn-lt"/>
              </a:rPr>
              <a:t>Synergistically utilize technically sound portals with frictionless </a:t>
            </a:r>
            <a:r>
              <a:rPr sz="600" kern="0" dirty="0" err="1">
                <a:solidFill>
                  <a:srgbClr val="6C79BA"/>
                </a:solidFill>
                <a:cs typeface="+mn-ea"/>
                <a:sym typeface="+mn-lt"/>
              </a:rPr>
              <a:t>chains</a:t>
            </a:r>
            <a:r>
              <a:rPr lang="en-US" altLang="zh-CN" sz="600" kern="0" dirty="0" err="1">
                <a:solidFill>
                  <a:srgbClr val="6C79BA"/>
                </a:solidFill>
                <a:cs typeface="+mn-ea"/>
                <a:sym typeface="+mn-lt"/>
              </a:rPr>
              <a:t>Synergistically</a:t>
            </a:r>
            <a:endParaRPr lang="en-US" altLang="zh-CN" sz="600" kern="0" dirty="0">
              <a:solidFill>
                <a:srgbClr val="6C79BA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16900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  <p:bldP spid="11" grpId="0"/>
      <p:bldP spid="2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357C79E6-1896-47E7-A4B4-0E079F442E3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55" name="Rounded Rectangle 70">
            <a:extLst>
              <a:ext uri="{FF2B5EF4-FFF2-40B4-BE49-F238E27FC236}">
                <a16:creationId xmlns:a16="http://schemas.microsoft.com/office/drawing/2014/main" id="{FC905365-AC76-4FF8-86E2-C976EC452B12}"/>
              </a:ext>
            </a:extLst>
          </p:cNvPr>
          <p:cNvSpPr/>
          <p:nvPr/>
        </p:nvSpPr>
        <p:spPr>
          <a:xfrm>
            <a:off x="1343116" y="2661759"/>
            <a:ext cx="9566271" cy="3454024"/>
          </a:xfrm>
          <a:prstGeom prst="roundRect">
            <a:avLst>
              <a:gd name="adj" fmla="val 1137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711200" dist="254000" dir="2700000" sx="102000" sy="102000" algn="tl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" name="îṧ1ïḋé">
            <a:extLst>
              <a:ext uri="{FF2B5EF4-FFF2-40B4-BE49-F238E27FC236}">
                <a16:creationId xmlns:a16="http://schemas.microsoft.com/office/drawing/2014/main" id="{508BD927-BE16-498F-839C-920A50CF7AD1}"/>
              </a:ext>
            </a:extLst>
          </p:cNvPr>
          <p:cNvSpPr/>
          <p:nvPr/>
        </p:nvSpPr>
        <p:spPr>
          <a:xfrm>
            <a:off x="4454965" y="1668004"/>
            <a:ext cx="3282067" cy="60577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dist" defTabSz="914400"/>
            <a:r>
              <a:rPr lang="en-US" altLang="zh-CN" sz="3200" b="1" dirty="0">
                <a:solidFill>
                  <a:srgbClr val="0D3787"/>
                </a:solidFill>
                <a:cs typeface="+mn-ea"/>
                <a:sym typeface="+mn-lt"/>
              </a:rPr>
              <a:t>CONTENTS</a:t>
            </a:r>
          </a:p>
        </p:txBody>
      </p:sp>
      <p:sp>
        <p:nvSpPr>
          <p:cNvPr id="5" name="Rectangle: Rounded Corners 6">
            <a:extLst>
              <a:ext uri="{FF2B5EF4-FFF2-40B4-BE49-F238E27FC236}">
                <a16:creationId xmlns:a16="http://schemas.microsoft.com/office/drawing/2014/main" id="{8287E4B3-7F97-4ADB-9D8B-9FAD831C3AFD}"/>
              </a:ext>
            </a:extLst>
          </p:cNvPr>
          <p:cNvSpPr/>
          <p:nvPr/>
        </p:nvSpPr>
        <p:spPr>
          <a:xfrm>
            <a:off x="2259664" y="3079258"/>
            <a:ext cx="3371362" cy="533616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AD34D"/>
              </a:gs>
              <a:gs pos="100000">
                <a:srgbClr val="F7B44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6" name="Rectangle: Rounded Corners 31">
            <a:extLst>
              <a:ext uri="{FF2B5EF4-FFF2-40B4-BE49-F238E27FC236}">
                <a16:creationId xmlns:a16="http://schemas.microsoft.com/office/drawing/2014/main" id="{C91A541D-9005-4CD7-9D7F-58B37A8ADDBA}"/>
              </a:ext>
            </a:extLst>
          </p:cNvPr>
          <p:cNvSpPr/>
          <p:nvPr/>
        </p:nvSpPr>
        <p:spPr>
          <a:xfrm>
            <a:off x="2259664" y="3079258"/>
            <a:ext cx="816768" cy="533616"/>
          </a:xfrm>
          <a:prstGeom prst="roundRect">
            <a:avLst>
              <a:gd name="adj" fmla="val 50000"/>
            </a:avLst>
          </a:prstGeom>
          <a:solidFill>
            <a:srgbClr val="0D3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7" name="Group 33">
            <a:extLst>
              <a:ext uri="{FF2B5EF4-FFF2-40B4-BE49-F238E27FC236}">
                <a16:creationId xmlns:a16="http://schemas.microsoft.com/office/drawing/2014/main" id="{F41C5948-B8B4-47EF-8DD9-07F95057D3D3}"/>
              </a:ext>
            </a:extLst>
          </p:cNvPr>
          <p:cNvGrpSpPr/>
          <p:nvPr/>
        </p:nvGrpSpPr>
        <p:grpSpPr>
          <a:xfrm>
            <a:off x="2493114" y="3184710"/>
            <a:ext cx="334788" cy="322713"/>
            <a:chOff x="3171825" y="1358895"/>
            <a:chExt cx="287338" cy="276975"/>
          </a:xfrm>
          <a:solidFill>
            <a:schemeClr val="bg1"/>
          </a:solidFill>
        </p:grpSpPr>
        <p:sp>
          <p:nvSpPr>
            <p:cNvPr id="8" name="Freeform 137">
              <a:extLst>
                <a:ext uri="{FF2B5EF4-FFF2-40B4-BE49-F238E27FC236}">
                  <a16:creationId xmlns:a16="http://schemas.microsoft.com/office/drawing/2014/main" id="{21FE490D-DDE4-4389-B25F-9139E51E68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1825" y="1372443"/>
              <a:ext cx="287338" cy="263427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9" name="Freeform 138">
              <a:extLst>
                <a:ext uri="{FF2B5EF4-FFF2-40B4-BE49-F238E27FC236}">
                  <a16:creationId xmlns:a16="http://schemas.microsoft.com/office/drawing/2014/main" id="{F1C79F6D-F13F-403E-9AC3-58FAAE3B7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358895"/>
              <a:ext cx="76200" cy="69859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0" name="Freeform 139">
              <a:extLst>
                <a:ext uri="{FF2B5EF4-FFF2-40B4-BE49-F238E27FC236}">
                  <a16:creationId xmlns:a16="http://schemas.microsoft.com/office/drawing/2014/main" id="{DC46BFAA-734C-4F50-AD1B-9F324B211F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2000" y="1606151"/>
              <a:ext cx="28575" cy="26197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CE6D2C78-A6C8-42FD-960C-566961C54EE3}"/>
              </a:ext>
            </a:extLst>
          </p:cNvPr>
          <p:cNvSpPr txBox="1"/>
          <p:nvPr/>
        </p:nvSpPr>
        <p:spPr>
          <a:xfrm>
            <a:off x="3172834" y="3153904"/>
            <a:ext cx="22750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>
                <a:solidFill>
                  <a:schemeClr val="bg1"/>
                </a:solidFill>
                <a:cs typeface="+mn-ea"/>
                <a:sym typeface="+mn-lt"/>
              </a:rPr>
              <a:t>01.</a:t>
            </a:r>
            <a:r>
              <a:rPr lang="zh-CN" altLang="en-US" sz="2000" dirty="0">
                <a:solidFill>
                  <a:schemeClr val="bg1"/>
                </a:solidFill>
                <a:cs typeface="+mn-ea"/>
                <a:sym typeface="+mn-lt"/>
              </a:rPr>
              <a:t>Add a title</a:t>
            </a:r>
          </a:p>
        </p:txBody>
      </p:sp>
      <p:sp>
        <p:nvSpPr>
          <p:cNvPr id="13" name="Rectangle: Rounded Corners 6">
            <a:extLst>
              <a:ext uri="{FF2B5EF4-FFF2-40B4-BE49-F238E27FC236}">
                <a16:creationId xmlns:a16="http://schemas.microsoft.com/office/drawing/2014/main" id="{B61E153C-5DFB-410C-9850-64500F16B397}"/>
              </a:ext>
            </a:extLst>
          </p:cNvPr>
          <p:cNvSpPr/>
          <p:nvPr/>
        </p:nvSpPr>
        <p:spPr>
          <a:xfrm>
            <a:off x="2259664" y="4054618"/>
            <a:ext cx="3371362" cy="533616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AD34D"/>
              </a:gs>
              <a:gs pos="100000">
                <a:srgbClr val="F7B44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" name="Rectangle: Rounded Corners 31">
            <a:extLst>
              <a:ext uri="{FF2B5EF4-FFF2-40B4-BE49-F238E27FC236}">
                <a16:creationId xmlns:a16="http://schemas.microsoft.com/office/drawing/2014/main" id="{B45EDA6B-0B2E-4545-B82E-61449A58AA68}"/>
              </a:ext>
            </a:extLst>
          </p:cNvPr>
          <p:cNvSpPr/>
          <p:nvPr/>
        </p:nvSpPr>
        <p:spPr>
          <a:xfrm>
            <a:off x="2259664" y="4054618"/>
            <a:ext cx="816768" cy="533616"/>
          </a:xfrm>
          <a:prstGeom prst="roundRect">
            <a:avLst>
              <a:gd name="adj" fmla="val 50000"/>
            </a:avLst>
          </a:prstGeom>
          <a:solidFill>
            <a:srgbClr val="0D3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15" name="Group 33">
            <a:extLst>
              <a:ext uri="{FF2B5EF4-FFF2-40B4-BE49-F238E27FC236}">
                <a16:creationId xmlns:a16="http://schemas.microsoft.com/office/drawing/2014/main" id="{08020800-8DAF-4070-A0A0-2386DFAA2206}"/>
              </a:ext>
            </a:extLst>
          </p:cNvPr>
          <p:cNvGrpSpPr/>
          <p:nvPr/>
        </p:nvGrpSpPr>
        <p:grpSpPr>
          <a:xfrm>
            <a:off x="2493114" y="4160070"/>
            <a:ext cx="334788" cy="322713"/>
            <a:chOff x="3171825" y="1358895"/>
            <a:chExt cx="287338" cy="276975"/>
          </a:xfrm>
          <a:solidFill>
            <a:schemeClr val="bg1"/>
          </a:solidFill>
        </p:grpSpPr>
        <p:sp>
          <p:nvSpPr>
            <p:cNvPr id="16" name="Freeform 137">
              <a:extLst>
                <a:ext uri="{FF2B5EF4-FFF2-40B4-BE49-F238E27FC236}">
                  <a16:creationId xmlns:a16="http://schemas.microsoft.com/office/drawing/2014/main" id="{E1E496C0-C326-4C2A-B714-E717BE31FC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1825" y="1372443"/>
              <a:ext cx="287338" cy="263427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7" name="Freeform 138">
              <a:extLst>
                <a:ext uri="{FF2B5EF4-FFF2-40B4-BE49-F238E27FC236}">
                  <a16:creationId xmlns:a16="http://schemas.microsoft.com/office/drawing/2014/main" id="{A9DD743B-DC2E-4C3D-B9BC-B1D6C2EB3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358895"/>
              <a:ext cx="76200" cy="69859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8" name="Freeform 139">
              <a:extLst>
                <a:ext uri="{FF2B5EF4-FFF2-40B4-BE49-F238E27FC236}">
                  <a16:creationId xmlns:a16="http://schemas.microsoft.com/office/drawing/2014/main" id="{6575038C-38DB-4C5B-ACD4-2DFC708E65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2000" y="1606151"/>
              <a:ext cx="28575" cy="26197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19" name="文本框 18">
            <a:extLst>
              <a:ext uri="{FF2B5EF4-FFF2-40B4-BE49-F238E27FC236}">
                <a16:creationId xmlns:a16="http://schemas.microsoft.com/office/drawing/2014/main" id="{FFB95D28-482A-4A38-82A1-DE6D51478CC6}"/>
              </a:ext>
            </a:extLst>
          </p:cNvPr>
          <p:cNvSpPr txBox="1"/>
          <p:nvPr/>
        </p:nvSpPr>
        <p:spPr>
          <a:xfrm>
            <a:off x="3172834" y="4129264"/>
            <a:ext cx="22750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>
                <a:solidFill>
                  <a:schemeClr val="bg1"/>
                </a:solidFill>
                <a:cs typeface="+mn-ea"/>
                <a:sym typeface="+mn-lt"/>
              </a:rPr>
              <a:t>02.</a:t>
            </a:r>
            <a:r>
              <a:rPr lang="zh-CN" altLang="en-US" sz="2000" dirty="0">
                <a:solidFill>
                  <a:schemeClr val="bg1"/>
                </a:solidFill>
                <a:cs typeface="+mn-ea"/>
                <a:sym typeface="+mn-lt"/>
              </a:rPr>
              <a:t>Add a title</a:t>
            </a:r>
          </a:p>
        </p:txBody>
      </p:sp>
      <p:sp>
        <p:nvSpPr>
          <p:cNvPr id="20" name="Rectangle: Rounded Corners 6">
            <a:extLst>
              <a:ext uri="{FF2B5EF4-FFF2-40B4-BE49-F238E27FC236}">
                <a16:creationId xmlns:a16="http://schemas.microsoft.com/office/drawing/2014/main" id="{5233146F-162A-4E3E-AC96-7CA20F661772}"/>
              </a:ext>
            </a:extLst>
          </p:cNvPr>
          <p:cNvSpPr/>
          <p:nvPr/>
        </p:nvSpPr>
        <p:spPr>
          <a:xfrm>
            <a:off x="2259664" y="5073490"/>
            <a:ext cx="3371362" cy="533616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AD34D"/>
              </a:gs>
              <a:gs pos="100000">
                <a:srgbClr val="F7B44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1" name="Rectangle: Rounded Corners 31">
            <a:extLst>
              <a:ext uri="{FF2B5EF4-FFF2-40B4-BE49-F238E27FC236}">
                <a16:creationId xmlns:a16="http://schemas.microsoft.com/office/drawing/2014/main" id="{EF98561A-69B2-406D-8922-613F70705236}"/>
              </a:ext>
            </a:extLst>
          </p:cNvPr>
          <p:cNvSpPr/>
          <p:nvPr/>
        </p:nvSpPr>
        <p:spPr>
          <a:xfrm>
            <a:off x="2259664" y="5073490"/>
            <a:ext cx="816768" cy="533616"/>
          </a:xfrm>
          <a:prstGeom prst="roundRect">
            <a:avLst>
              <a:gd name="adj" fmla="val 50000"/>
            </a:avLst>
          </a:prstGeom>
          <a:solidFill>
            <a:srgbClr val="0D3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22" name="Group 33">
            <a:extLst>
              <a:ext uri="{FF2B5EF4-FFF2-40B4-BE49-F238E27FC236}">
                <a16:creationId xmlns:a16="http://schemas.microsoft.com/office/drawing/2014/main" id="{8C9FB492-EA3E-473F-8B46-67CDB5D3ED34}"/>
              </a:ext>
            </a:extLst>
          </p:cNvPr>
          <p:cNvGrpSpPr/>
          <p:nvPr/>
        </p:nvGrpSpPr>
        <p:grpSpPr>
          <a:xfrm>
            <a:off x="2493114" y="5178942"/>
            <a:ext cx="334788" cy="322713"/>
            <a:chOff x="3171825" y="1358895"/>
            <a:chExt cx="287338" cy="276975"/>
          </a:xfrm>
          <a:solidFill>
            <a:schemeClr val="bg1"/>
          </a:solidFill>
        </p:grpSpPr>
        <p:sp>
          <p:nvSpPr>
            <p:cNvPr id="23" name="Freeform 137">
              <a:extLst>
                <a:ext uri="{FF2B5EF4-FFF2-40B4-BE49-F238E27FC236}">
                  <a16:creationId xmlns:a16="http://schemas.microsoft.com/office/drawing/2014/main" id="{3CB1DFCA-5A18-4778-9B73-E8F69420E5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1825" y="1372443"/>
              <a:ext cx="287338" cy="263427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4" name="Freeform 138">
              <a:extLst>
                <a:ext uri="{FF2B5EF4-FFF2-40B4-BE49-F238E27FC236}">
                  <a16:creationId xmlns:a16="http://schemas.microsoft.com/office/drawing/2014/main" id="{7CD63F3A-1DA2-4FAF-9E7D-817305DBE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358895"/>
              <a:ext cx="76200" cy="69859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5" name="Freeform 139">
              <a:extLst>
                <a:ext uri="{FF2B5EF4-FFF2-40B4-BE49-F238E27FC236}">
                  <a16:creationId xmlns:a16="http://schemas.microsoft.com/office/drawing/2014/main" id="{D030266A-1BAF-4ED0-B483-7D00F0F61D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2000" y="1606151"/>
              <a:ext cx="28575" cy="26197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26" name="文本框 25">
            <a:extLst>
              <a:ext uri="{FF2B5EF4-FFF2-40B4-BE49-F238E27FC236}">
                <a16:creationId xmlns:a16="http://schemas.microsoft.com/office/drawing/2014/main" id="{67939D28-3B37-488A-84A2-EA3419D36EF0}"/>
              </a:ext>
            </a:extLst>
          </p:cNvPr>
          <p:cNvSpPr txBox="1"/>
          <p:nvPr/>
        </p:nvSpPr>
        <p:spPr>
          <a:xfrm>
            <a:off x="3172834" y="5148136"/>
            <a:ext cx="22750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>
                <a:solidFill>
                  <a:schemeClr val="bg1"/>
                </a:solidFill>
                <a:cs typeface="+mn-ea"/>
                <a:sym typeface="+mn-lt"/>
              </a:rPr>
              <a:t>03.</a:t>
            </a:r>
            <a:r>
              <a:rPr lang="zh-CN" altLang="en-US" sz="2000" dirty="0">
                <a:solidFill>
                  <a:schemeClr val="bg1"/>
                </a:solidFill>
                <a:cs typeface="+mn-ea"/>
                <a:sym typeface="+mn-lt"/>
              </a:rPr>
              <a:t>Add a title</a:t>
            </a:r>
          </a:p>
        </p:txBody>
      </p:sp>
      <p:sp>
        <p:nvSpPr>
          <p:cNvPr id="27" name="Rectangle: Rounded Corners 6">
            <a:extLst>
              <a:ext uri="{FF2B5EF4-FFF2-40B4-BE49-F238E27FC236}">
                <a16:creationId xmlns:a16="http://schemas.microsoft.com/office/drawing/2014/main" id="{FC4C854A-FF72-4BAC-BCE9-42FE5CE55F3D}"/>
              </a:ext>
            </a:extLst>
          </p:cNvPr>
          <p:cNvSpPr/>
          <p:nvPr/>
        </p:nvSpPr>
        <p:spPr>
          <a:xfrm>
            <a:off x="6613575" y="3004612"/>
            <a:ext cx="3371362" cy="533616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AD34D"/>
              </a:gs>
              <a:gs pos="100000">
                <a:srgbClr val="F7B44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8" name="Rectangle: Rounded Corners 31">
            <a:extLst>
              <a:ext uri="{FF2B5EF4-FFF2-40B4-BE49-F238E27FC236}">
                <a16:creationId xmlns:a16="http://schemas.microsoft.com/office/drawing/2014/main" id="{C2AF42D9-305E-4688-A58B-70E1AB6F552A}"/>
              </a:ext>
            </a:extLst>
          </p:cNvPr>
          <p:cNvSpPr/>
          <p:nvPr/>
        </p:nvSpPr>
        <p:spPr>
          <a:xfrm>
            <a:off x="6613575" y="3004612"/>
            <a:ext cx="816768" cy="533616"/>
          </a:xfrm>
          <a:prstGeom prst="roundRect">
            <a:avLst>
              <a:gd name="adj" fmla="val 50000"/>
            </a:avLst>
          </a:prstGeom>
          <a:solidFill>
            <a:srgbClr val="0D3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29" name="Group 33">
            <a:extLst>
              <a:ext uri="{FF2B5EF4-FFF2-40B4-BE49-F238E27FC236}">
                <a16:creationId xmlns:a16="http://schemas.microsoft.com/office/drawing/2014/main" id="{04BF0A34-8BDA-48A3-AFE8-B3E5FC6FFCF3}"/>
              </a:ext>
            </a:extLst>
          </p:cNvPr>
          <p:cNvGrpSpPr/>
          <p:nvPr/>
        </p:nvGrpSpPr>
        <p:grpSpPr>
          <a:xfrm>
            <a:off x="6847025" y="3110064"/>
            <a:ext cx="334788" cy="322713"/>
            <a:chOff x="3171825" y="1358895"/>
            <a:chExt cx="287338" cy="276975"/>
          </a:xfrm>
          <a:solidFill>
            <a:schemeClr val="bg1"/>
          </a:solidFill>
        </p:grpSpPr>
        <p:sp>
          <p:nvSpPr>
            <p:cNvPr id="30" name="Freeform 137">
              <a:extLst>
                <a:ext uri="{FF2B5EF4-FFF2-40B4-BE49-F238E27FC236}">
                  <a16:creationId xmlns:a16="http://schemas.microsoft.com/office/drawing/2014/main" id="{5EECF973-356C-4F15-A8DD-A7BA6E63B9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1825" y="1372443"/>
              <a:ext cx="287338" cy="263427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1" name="Freeform 138">
              <a:extLst>
                <a:ext uri="{FF2B5EF4-FFF2-40B4-BE49-F238E27FC236}">
                  <a16:creationId xmlns:a16="http://schemas.microsoft.com/office/drawing/2014/main" id="{076D24ED-52DA-49EA-B775-414711EE2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358895"/>
              <a:ext cx="76200" cy="69859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2" name="Freeform 139">
              <a:extLst>
                <a:ext uri="{FF2B5EF4-FFF2-40B4-BE49-F238E27FC236}">
                  <a16:creationId xmlns:a16="http://schemas.microsoft.com/office/drawing/2014/main" id="{0E93D656-198D-4138-AB79-91891090C2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2000" y="1606151"/>
              <a:ext cx="28575" cy="26197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33" name="文本框 32">
            <a:extLst>
              <a:ext uri="{FF2B5EF4-FFF2-40B4-BE49-F238E27FC236}">
                <a16:creationId xmlns:a16="http://schemas.microsoft.com/office/drawing/2014/main" id="{50F27B24-E6D8-457B-9F0E-45DD34C4C926}"/>
              </a:ext>
            </a:extLst>
          </p:cNvPr>
          <p:cNvSpPr txBox="1"/>
          <p:nvPr/>
        </p:nvSpPr>
        <p:spPr>
          <a:xfrm>
            <a:off x="7526745" y="3079258"/>
            <a:ext cx="22750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>
                <a:solidFill>
                  <a:schemeClr val="bg1"/>
                </a:solidFill>
                <a:cs typeface="+mn-ea"/>
                <a:sym typeface="+mn-lt"/>
              </a:rPr>
              <a:t>04.</a:t>
            </a:r>
            <a:r>
              <a:rPr lang="zh-CN" altLang="en-US" sz="2000" dirty="0">
                <a:solidFill>
                  <a:schemeClr val="bg1"/>
                </a:solidFill>
                <a:cs typeface="+mn-ea"/>
                <a:sym typeface="+mn-lt"/>
              </a:rPr>
              <a:t>Add a title</a:t>
            </a:r>
          </a:p>
        </p:txBody>
      </p:sp>
      <p:sp>
        <p:nvSpPr>
          <p:cNvPr id="34" name="Rectangle: Rounded Corners 6">
            <a:extLst>
              <a:ext uri="{FF2B5EF4-FFF2-40B4-BE49-F238E27FC236}">
                <a16:creationId xmlns:a16="http://schemas.microsoft.com/office/drawing/2014/main" id="{AA697922-EB8A-46C8-A3DC-0B836988A820}"/>
              </a:ext>
            </a:extLst>
          </p:cNvPr>
          <p:cNvSpPr/>
          <p:nvPr/>
        </p:nvSpPr>
        <p:spPr>
          <a:xfrm>
            <a:off x="6613575" y="3979972"/>
            <a:ext cx="3371362" cy="533616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AD34D"/>
              </a:gs>
              <a:gs pos="100000">
                <a:srgbClr val="F7B44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5" name="Rectangle: Rounded Corners 31">
            <a:extLst>
              <a:ext uri="{FF2B5EF4-FFF2-40B4-BE49-F238E27FC236}">
                <a16:creationId xmlns:a16="http://schemas.microsoft.com/office/drawing/2014/main" id="{A1494D9D-3642-4BE2-995A-749D21B62635}"/>
              </a:ext>
            </a:extLst>
          </p:cNvPr>
          <p:cNvSpPr/>
          <p:nvPr/>
        </p:nvSpPr>
        <p:spPr>
          <a:xfrm>
            <a:off x="6613575" y="3979972"/>
            <a:ext cx="816768" cy="533616"/>
          </a:xfrm>
          <a:prstGeom prst="roundRect">
            <a:avLst>
              <a:gd name="adj" fmla="val 50000"/>
            </a:avLst>
          </a:prstGeom>
          <a:solidFill>
            <a:srgbClr val="0D3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36" name="Group 33">
            <a:extLst>
              <a:ext uri="{FF2B5EF4-FFF2-40B4-BE49-F238E27FC236}">
                <a16:creationId xmlns:a16="http://schemas.microsoft.com/office/drawing/2014/main" id="{B7E8A4CA-7512-449B-B303-3EF66B2BF4F7}"/>
              </a:ext>
            </a:extLst>
          </p:cNvPr>
          <p:cNvGrpSpPr/>
          <p:nvPr/>
        </p:nvGrpSpPr>
        <p:grpSpPr>
          <a:xfrm>
            <a:off x="6847025" y="4085424"/>
            <a:ext cx="334788" cy="322713"/>
            <a:chOff x="3171825" y="1358895"/>
            <a:chExt cx="287338" cy="276975"/>
          </a:xfrm>
          <a:solidFill>
            <a:schemeClr val="bg1"/>
          </a:solidFill>
        </p:grpSpPr>
        <p:sp>
          <p:nvSpPr>
            <p:cNvPr id="37" name="Freeform 137">
              <a:extLst>
                <a:ext uri="{FF2B5EF4-FFF2-40B4-BE49-F238E27FC236}">
                  <a16:creationId xmlns:a16="http://schemas.microsoft.com/office/drawing/2014/main" id="{18CF504C-C12F-487D-81AF-B72B4FBEAF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1825" y="1372443"/>
              <a:ext cx="287338" cy="263427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8" name="Freeform 138">
              <a:extLst>
                <a:ext uri="{FF2B5EF4-FFF2-40B4-BE49-F238E27FC236}">
                  <a16:creationId xmlns:a16="http://schemas.microsoft.com/office/drawing/2014/main" id="{ECA8F124-0555-4A64-85C0-D15C86F2C6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358895"/>
              <a:ext cx="76200" cy="69859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9" name="Freeform 139">
              <a:extLst>
                <a:ext uri="{FF2B5EF4-FFF2-40B4-BE49-F238E27FC236}">
                  <a16:creationId xmlns:a16="http://schemas.microsoft.com/office/drawing/2014/main" id="{17017A3C-8BD0-4963-9556-175A70FD34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2000" y="1606151"/>
              <a:ext cx="28575" cy="26197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40" name="文本框 39">
            <a:extLst>
              <a:ext uri="{FF2B5EF4-FFF2-40B4-BE49-F238E27FC236}">
                <a16:creationId xmlns:a16="http://schemas.microsoft.com/office/drawing/2014/main" id="{8C144C01-7EFF-4DC7-9003-99CE611F2078}"/>
              </a:ext>
            </a:extLst>
          </p:cNvPr>
          <p:cNvSpPr txBox="1"/>
          <p:nvPr/>
        </p:nvSpPr>
        <p:spPr>
          <a:xfrm>
            <a:off x="7526745" y="4054618"/>
            <a:ext cx="22750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>
                <a:solidFill>
                  <a:schemeClr val="bg1"/>
                </a:solidFill>
                <a:cs typeface="+mn-ea"/>
                <a:sym typeface="+mn-lt"/>
              </a:rPr>
              <a:t>05.</a:t>
            </a:r>
            <a:r>
              <a:rPr lang="zh-CN" altLang="en-US" sz="2000" dirty="0">
                <a:solidFill>
                  <a:schemeClr val="bg1"/>
                </a:solidFill>
                <a:cs typeface="+mn-ea"/>
                <a:sym typeface="+mn-lt"/>
              </a:rPr>
              <a:t>Add a title</a:t>
            </a:r>
          </a:p>
        </p:txBody>
      </p:sp>
      <p:sp>
        <p:nvSpPr>
          <p:cNvPr id="41" name="Rectangle: Rounded Corners 6">
            <a:extLst>
              <a:ext uri="{FF2B5EF4-FFF2-40B4-BE49-F238E27FC236}">
                <a16:creationId xmlns:a16="http://schemas.microsoft.com/office/drawing/2014/main" id="{A2EF2347-4FBC-4FE7-A273-F46F53ACEC18}"/>
              </a:ext>
            </a:extLst>
          </p:cNvPr>
          <p:cNvSpPr/>
          <p:nvPr/>
        </p:nvSpPr>
        <p:spPr>
          <a:xfrm>
            <a:off x="6613575" y="4998844"/>
            <a:ext cx="3371362" cy="533616"/>
          </a:xfrm>
          <a:prstGeom prst="roundRect">
            <a:avLst>
              <a:gd name="adj" fmla="val 50000"/>
            </a:avLst>
          </a:prstGeom>
          <a:gradFill>
            <a:gsLst>
              <a:gs pos="0">
                <a:srgbClr val="FAD34D"/>
              </a:gs>
              <a:gs pos="100000">
                <a:srgbClr val="F7B44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2" name="Rectangle: Rounded Corners 31">
            <a:extLst>
              <a:ext uri="{FF2B5EF4-FFF2-40B4-BE49-F238E27FC236}">
                <a16:creationId xmlns:a16="http://schemas.microsoft.com/office/drawing/2014/main" id="{F54EE401-36D1-415D-B336-D33716F5D4BF}"/>
              </a:ext>
            </a:extLst>
          </p:cNvPr>
          <p:cNvSpPr/>
          <p:nvPr/>
        </p:nvSpPr>
        <p:spPr>
          <a:xfrm>
            <a:off x="6613575" y="4998844"/>
            <a:ext cx="816768" cy="533616"/>
          </a:xfrm>
          <a:prstGeom prst="roundRect">
            <a:avLst>
              <a:gd name="adj" fmla="val 50000"/>
            </a:avLst>
          </a:prstGeom>
          <a:solidFill>
            <a:srgbClr val="0D3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43" name="Group 33">
            <a:extLst>
              <a:ext uri="{FF2B5EF4-FFF2-40B4-BE49-F238E27FC236}">
                <a16:creationId xmlns:a16="http://schemas.microsoft.com/office/drawing/2014/main" id="{06838042-B7BB-45AD-8CBF-5C2DDC8483B8}"/>
              </a:ext>
            </a:extLst>
          </p:cNvPr>
          <p:cNvGrpSpPr/>
          <p:nvPr/>
        </p:nvGrpSpPr>
        <p:grpSpPr>
          <a:xfrm>
            <a:off x="6847025" y="5104296"/>
            <a:ext cx="334788" cy="322713"/>
            <a:chOff x="3171825" y="1358895"/>
            <a:chExt cx="287338" cy="276975"/>
          </a:xfrm>
          <a:solidFill>
            <a:schemeClr val="bg1"/>
          </a:solidFill>
        </p:grpSpPr>
        <p:sp>
          <p:nvSpPr>
            <p:cNvPr id="44" name="Freeform 137">
              <a:extLst>
                <a:ext uri="{FF2B5EF4-FFF2-40B4-BE49-F238E27FC236}">
                  <a16:creationId xmlns:a16="http://schemas.microsoft.com/office/drawing/2014/main" id="{5DAA1164-991A-41CB-B784-DA5D75A4C4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1825" y="1372443"/>
              <a:ext cx="287338" cy="263427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5" name="Freeform 138">
              <a:extLst>
                <a:ext uri="{FF2B5EF4-FFF2-40B4-BE49-F238E27FC236}">
                  <a16:creationId xmlns:a16="http://schemas.microsoft.com/office/drawing/2014/main" id="{9ED958E7-8455-491A-88D0-54C720777B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358895"/>
              <a:ext cx="76200" cy="69859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6" name="Freeform 139">
              <a:extLst>
                <a:ext uri="{FF2B5EF4-FFF2-40B4-BE49-F238E27FC236}">
                  <a16:creationId xmlns:a16="http://schemas.microsoft.com/office/drawing/2014/main" id="{C2611347-7B1C-492B-8F39-A5B231DCFA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2000" y="1606151"/>
              <a:ext cx="28575" cy="26197"/>
            </a:xfrm>
            <a:custGeom>
              <a:avLst/>
              <a:gdLst>
                <a:gd name="T0" fmla="*/ 9978 w 10065"/>
                <a:gd name="T1" fmla="*/ 2876 h 9225"/>
                <a:gd name="T2" fmla="*/ 7865 w 10065"/>
                <a:gd name="T3" fmla="*/ 8963 h 9225"/>
                <a:gd name="T4" fmla="*/ 1589 w 10065"/>
                <a:gd name="T5" fmla="*/ 9225 h 9225"/>
                <a:gd name="T6" fmla="*/ 100 w 10065"/>
                <a:gd name="T7" fmla="*/ 8113 h 9225"/>
                <a:gd name="T8" fmla="*/ 105 w 10065"/>
                <a:gd name="T9" fmla="*/ 7190 h 9225"/>
                <a:gd name="T10" fmla="*/ 111 w 10065"/>
                <a:gd name="T11" fmla="*/ 6838 h 9225"/>
                <a:gd name="T12" fmla="*/ 141 w 10065"/>
                <a:gd name="T13" fmla="*/ 6595 h 9225"/>
                <a:gd name="T14" fmla="*/ 339 w 10065"/>
                <a:gd name="T15" fmla="*/ 6312 h 9225"/>
                <a:gd name="T16" fmla="*/ 789 w 10065"/>
                <a:gd name="T17" fmla="*/ 5212 h 9225"/>
                <a:gd name="T18" fmla="*/ 789 w 10065"/>
                <a:gd name="T19" fmla="*/ 4865 h 9225"/>
                <a:gd name="T20" fmla="*/ 994 w 10065"/>
                <a:gd name="T21" fmla="*/ 4560 h 9225"/>
                <a:gd name="T22" fmla="*/ 1396 w 10065"/>
                <a:gd name="T23" fmla="*/ 3467 h 9225"/>
                <a:gd name="T24" fmla="*/ 1384 w 10065"/>
                <a:gd name="T25" fmla="*/ 3107 h 9225"/>
                <a:gd name="T26" fmla="*/ 1649 w 10065"/>
                <a:gd name="T27" fmla="*/ 2788 h 9225"/>
                <a:gd name="T28" fmla="*/ 2069 w 10065"/>
                <a:gd name="T29" fmla="*/ 1701 h 9225"/>
                <a:gd name="T30" fmla="*/ 2039 w 10065"/>
                <a:gd name="T31" fmla="*/ 1390 h 9225"/>
                <a:gd name="T32" fmla="*/ 2201 w 10065"/>
                <a:gd name="T33" fmla="*/ 1143 h 9225"/>
                <a:gd name="T34" fmla="*/ 2403 w 10065"/>
                <a:gd name="T35" fmla="*/ 833 h 9225"/>
                <a:gd name="T36" fmla="*/ 2589 w 10065"/>
                <a:gd name="T37" fmla="*/ 407 h 9225"/>
                <a:gd name="T38" fmla="*/ 2865 w 10065"/>
                <a:gd name="T39" fmla="*/ 73 h 9225"/>
                <a:gd name="T40" fmla="*/ 3366 w 10065"/>
                <a:gd name="T41" fmla="*/ 36 h 9225"/>
                <a:gd name="T42" fmla="*/ 3666 w 10065"/>
                <a:gd name="T43" fmla="*/ 0 h 9225"/>
                <a:gd name="T44" fmla="*/ 8922 w 10065"/>
                <a:gd name="T45" fmla="*/ 336 h 9225"/>
                <a:gd name="T46" fmla="*/ 7384 w 10065"/>
                <a:gd name="T47" fmla="*/ 6558 h 9225"/>
                <a:gd name="T48" fmla="*/ 6183 w 10065"/>
                <a:gd name="T49" fmla="*/ 7688 h 9225"/>
                <a:gd name="T50" fmla="*/ 734 w 10065"/>
                <a:gd name="T51" fmla="*/ 7778 h 9225"/>
                <a:gd name="T52" fmla="*/ 1593 w 10065"/>
                <a:gd name="T53" fmla="*/ 8456 h 9225"/>
                <a:gd name="T54" fmla="*/ 7473 w 10065"/>
                <a:gd name="T55" fmla="*/ 8362 h 9225"/>
                <a:gd name="T56" fmla="*/ 9484 w 10065"/>
                <a:gd name="T57" fmla="*/ 2186 h 9225"/>
                <a:gd name="T58" fmla="*/ 9869 w 10065"/>
                <a:gd name="T59" fmla="*/ 2102 h 9225"/>
                <a:gd name="T60" fmla="*/ 2994 w 10065"/>
                <a:gd name="T61" fmla="*/ 3787 h 9225"/>
                <a:gd name="T62" fmla="*/ 6765 w 10065"/>
                <a:gd name="T63" fmla="*/ 3843 h 9225"/>
                <a:gd name="T64" fmla="*/ 7017 w 10065"/>
                <a:gd name="T65" fmla="*/ 3652 h 9225"/>
                <a:gd name="T66" fmla="*/ 7130 w 10065"/>
                <a:gd name="T67" fmla="*/ 3133 h 9225"/>
                <a:gd name="T68" fmla="*/ 3359 w 10065"/>
                <a:gd name="T69" fmla="*/ 3077 h 9225"/>
                <a:gd name="T70" fmla="*/ 3108 w 10065"/>
                <a:gd name="T71" fmla="*/ 3268 h 9225"/>
                <a:gd name="T72" fmla="*/ 3479 w 10065"/>
                <a:gd name="T73" fmla="*/ 2113 h 9225"/>
                <a:gd name="T74" fmla="*/ 3612 w 10065"/>
                <a:gd name="T75" fmla="*/ 2305 h 9225"/>
                <a:gd name="T76" fmla="*/ 7415 w 10065"/>
                <a:gd name="T77" fmla="*/ 2248 h 9225"/>
                <a:gd name="T78" fmla="*/ 7640 w 10065"/>
                <a:gd name="T79" fmla="*/ 1730 h 9225"/>
                <a:gd name="T80" fmla="*/ 7508 w 10065"/>
                <a:gd name="T81" fmla="*/ 1538 h 9225"/>
                <a:gd name="T82" fmla="*/ 3705 w 10065"/>
                <a:gd name="T83" fmla="*/ 1595 h 9225"/>
                <a:gd name="T84" fmla="*/ 3479 w 10065"/>
                <a:gd name="T85" fmla="*/ 2113 h 9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65" h="9225">
                  <a:moveTo>
                    <a:pt x="9869" y="2102"/>
                  </a:moveTo>
                  <a:cubicBezTo>
                    <a:pt x="10029" y="2331"/>
                    <a:pt x="10065" y="2588"/>
                    <a:pt x="9978" y="2876"/>
                  </a:cubicBezTo>
                  <a:lnTo>
                    <a:pt x="8325" y="8318"/>
                  </a:lnTo>
                  <a:cubicBezTo>
                    <a:pt x="8249" y="8575"/>
                    <a:pt x="8095" y="8790"/>
                    <a:pt x="7865" y="8963"/>
                  </a:cubicBezTo>
                  <a:cubicBezTo>
                    <a:pt x="7637" y="9137"/>
                    <a:pt x="7392" y="9225"/>
                    <a:pt x="7130" y="9225"/>
                  </a:cubicBezTo>
                  <a:lnTo>
                    <a:pt x="1589" y="9225"/>
                  </a:lnTo>
                  <a:cubicBezTo>
                    <a:pt x="1280" y="9225"/>
                    <a:pt x="984" y="9117"/>
                    <a:pt x="698" y="8903"/>
                  </a:cubicBezTo>
                  <a:cubicBezTo>
                    <a:pt x="411" y="8688"/>
                    <a:pt x="213" y="8426"/>
                    <a:pt x="100" y="8113"/>
                  </a:cubicBezTo>
                  <a:cubicBezTo>
                    <a:pt x="4" y="7846"/>
                    <a:pt x="0" y="7591"/>
                    <a:pt x="88" y="7351"/>
                  </a:cubicBezTo>
                  <a:cubicBezTo>
                    <a:pt x="88" y="7335"/>
                    <a:pt x="94" y="7281"/>
                    <a:pt x="105" y="7190"/>
                  </a:cubicBezTo>
                  <a:cubicBezTo>
                    <a:pt x="118" y="7097"/>
                    <a:pt x="125" y="7024"/>
                    <a:pt x="129" y="6967"/>
                  </a:cubicBezTo>
                  <a:cubicBezTo>
                    <a:pt x="133" y="6936"/>
                    <a:pt x="126" y="6892"/>
                    <a:pt x="111" y="6838"/>
                  </a:cubicBezTo>
                  <a:cubicBezTo>
                    <a:pt x="95" y="6785"/>
                    <a:pt x="90" y="6745"/>
                    <a:pt x="94" y="6721"/>
                  </a:cubicBezTo>
                  <a:cubicBezTo>
                    <a:pt x="101" y="6677"/>
                    <a:pt x="118" y="6635"/>
                    <a:pt x="141" y="6595"/>
                  </a:cubicBezTo>
                  <a:cubicBezTo>
                    <a:pt x="165" y="6555"/>
                    <a:pt x="198" y="6507"/>
                    <a:pt x="240" y="6453"/>
                  </a:cubicBezTo>
                  <a:cubicBezTo>
                    <a:pt x="282" y="6400"/>
                    <a:pt x="315" y="6352"/>
                    <a:pt x="339" y="6312"/>
                  </a:cubicBezTo>
                  <a:cubicBezTo>
                    <a:pt x="432" y="6161"/>
                    <a:pt x="521" y="5977"/>
                    <a:pt x="609" y="5762"/>
                  </a:cubicBezTo>
                  <a:cubicBezTo>
                    <a:pt x="697" y="5547"/>
                    <a:pt x="757" y="5365"/>
                    <a:pt x="789" y="5212"/>
                  </a:cubicBezTo>
                  <a:cubicBezTo>
                    <a:pt x="802" y="5172"/>
                    <a:pt x="802" y="5112"/>
                    <a:pt x="791" y="5032"/>
                  </a:cubicBezTo>
                  <a:cubicBezTo>
                    <a:pt x="781" y="4952"/>
                    <a:pt x="780" y="4896"/>
                    <a:pt x="789" y="4865"/>
                  </a:cubicBezTo>
                  <a:cubicBezTo>
                    <a:pt x="802" y="4821"/>
                    <a:pt x="834" y="4765"/>
                    <a:pt x="891" y="4697"/>
                  </a:cubicBezTo>
                  <a:cubicBezTo>
                    <a:pt x="947" y="4628"/>
                    <a:pt x="981" y="4583"/>
                    <a:pt x="994" y="4560"/>
                  </a:cubicBezTo>
                  <a:cubicBezTo>
                    <a:pt x="1079" y="4416"/>
                    <a:pt x="1161" y="4231"/>
                    <a:pt x="1246" y="4007"/>
                  </a:cubicBezTo>
                  <a:cubicBezTo>
                    <a:pt x="1331" y="3783"/>
                    <a:pt x="1380" y="3603"/>
                    <a:pt x="1396" y="3467"/>
                  </a:cubicBezTo>
                  <a:cubicBezTo>
                    <a:pt x="1400" y="3431"/>
                    <a:pt x="1395" y="3367"/>
                    <a:pt x="1381" y="3275"/>
                  </a:cubicBezTo>
                  <a:cubicBezTo>
                    <a:pt x="1368" y="3182"/>
                    <a:pt x="1369" y="3127"/>
                    <a:pt x="1384" y="3107"/>
                  </a:cubicBezTo>
                  <a:cubicBezTo>
                    <a:pt x="1400" y="3056"/>
                    <a:pt x="1445" y="2993"/>
                    <a:pt x="1516" y="2923"/>
                  </a:cubicBezTo>
                  <a:cubicBezTo>
                    <a:pt x="1589" y="2853"/>
                    <a:pt x="1633" y="2808"/>
                    <a:pt x="1649" y="2788"/>
                  </a:cubicBezTo>
                  <a:cubicBezTo>
                    <a:pt x="1725" y="2685"/>
                    <a:pt x="1810" y="2516"/>
                    <a:pt x="1904" y="2281"/>
                  </a:cubicBezTo>
                  <a:cubicBezTo>
                    <a:pt x="1998" y="2047"/>
                    <a:pt x="2053" y="1853"/>
                    <a:pt x="2069" y="1701"/>
                  </a:cubicBezTo>
                  <a:cubicBezTo>
                    <a:pt x="2073" y="1670"/>
                    <a:pt x="2066" y="1617"/>
                    <a:pt x="2051" y="1548"/>
                  </a:cubicBezTo>
                  <a:cubicBezTo>
                    <a:pt x="2035" y="1478"/>
                    <a:pt x="2031" y="1426"/>
                    <a:pt x="2039" y="1390"/>
                  </a:cubicBezTo>
                  <a:cubicBezTo>
                    <a:pt x="2046" y="1358"/>
                    <a:pt x="2065" y="1321"/>
                    <a:pt x="2093" y="1281"/>
                  </a:cubicBezTo>
                  <a:cubicBezTo>
                    <a:pt x="2120" y="1241"/>
                    <a:pt x="2158" y="1195"/>
                    <a:pt x="2201" y="1143"/>
                  </a:cubicBezTo>
                  <a:cubicBezTo>
                    <a:pt x="2245" y="1092"/>
                    <a:pt x="2280" y="1050"/>
                    <a:pt x="2304" y="1017"/>
                  </a:cubicBezTo>
                  <a:cubicBezTo>
                    <a:pt x="2335" y="970"/>
                    <a:pt x="2369" y="908"/>
                    <a:pt x="2403" y="833"/>
                  </a:cubicBezTo>
                  <a:cubicBezTo>
                    <a:pt x="2436" y="758"/>
                    <a:pt x="2468" y="690"/>
                    <a:pt x="2493" y="623"/>
                  </a:cubicBezTo>
                  <a:cubicBezTo>
                    <a:pt x="2519" y="557"/>
                    <a:pt x="2550" y="486"/>
                    <a:pt x="2589" y="407"/>
                  </a:cubicBezTo>
                  <a:cubicBezTo>
                    <a:pt x="2626" y="328"/>
                    <a:pt x="2666" y="266"/>
                    <a:pt x="2706" y="215"/>
                  </a:cubicBezTo>
                  <a:cubicBezTo>
                    <a:pt x="2746" y="165"/>
                    <a:pt x="2800" y="117"/>
                    <a:pt x="2865" y="73"/>
                  </a:cubicBezTo>
                  <a:cubicBezTo>
                    <a:pt x="2930" y="30"/>
                    <a:pt x="3003" y="6"/>
                    <a:pt x="3081" y="3"/>
                  </a:cubicBezTo>
                  <a:cubicBezTo>
                    <a:pt x="3160" y="1"/>
                    <a:pt x="3254" y="12"/>
                    <a:pt x="3366" y="36"/>
                  </a:cubicBezTo>
                  <a:lnTo>
                    <a:pt x="3360" y="53"/>
                  </a:lnTo>
                  <a:cubicBezTo>
                    <a:pt x="3511" y="17"/>
                    <a:pt x="3614" y="0"/>
                    <a:pt x="3666" y="0"/>
                  </a:cubicBezTo>
                  <a:lnTo>
                    <a:pt x="8237" y="0"/>
                  </a:lnTo>
                  <a:cubicBezTo>
                    <a:pt x="8533" y="0"/>
                    <a:pt x="8760" y="112"/>
                    <a:pt x="8922" y="336"/>
                  </a:cubicBezTo>
                  <a:cubicBezTo>
                    <a:pt x="9081" y="561"/>
                    <a:pt x="9118" y="821"/>
                    <a:pt x="9030" y="1116"/>
                  </a:cubicBezTo>
                  <a:lnTo>
                    <a:pt x="7384" y="6558"/>
                  </a:lnTo>
                  <a:cubicBezTo>
                    <a:pt x="7240" y="7035"/>
                    <a:pt x="7098" y="7341"/>
                    <a:pt x="6954" y="7481"/>
                  </a:cubicBezTo>
                  <a:cubicBezTo>
                    <a:pt x="6812" y="7618"/>
                    <a:pt x="6555" y="7688"/>
                    <a:pt x="6183" y="7688"/>
                  </a:cubicBezTo>
                  <a:lnTo>
                    <a:pt x="963" y="7688"/>
                  </a:lnTo>
                  <a:cubicBezTo>
                    <a:pt x="854" y="7688"/>
                    <a:pt x="778" y="7718"/>
                    <a:pt x="734" y="7778"/>
                  </a:cubicBezTo>
                  <a:cubicBezTo>
                    <a:pt x="690" y="7843"/>
                    <a:pt x="689" y="7928"/>
                    <a:pt x="728" y="8036"/>
                  </a:cubicBezTo>
                  <a:cubicBezTo>
                    <a:pt x="824" y="8316"/>
                    <a:pt x="1111" y="8456"/>
                    <a:pt x="1593" y="8456"/>
                  </a:cubicBezTo>
                  <a:lnTo>
                    <a:pt x="7137" y="8456"/>
                  </a:lnTo>
                  <a:cubicBezTo>
                    <a:pt x="7253" y="8456"/>
                    <a:pt x="7365" y="8425"/>
                    <a:pt x="7473" y="8362"/>
                  </a:cubicBezTo>
                  <a:cubicBezTo>
                    <a:pt x="7582" y="8300"/>
                    <a:pt x="7650" y="8217"/>
                    <a:pt x="7683" y="8113"/>
                  </a:cubicBezTo>
                  <a:lnTo>
                    <a:pt x="9484" y="2186"/>
                  </a:lnTo>
                  <a:cubicBezTo>
                    <a:pt x="9512" y="2097"/>
                    <a:pt x="9522" y="1983"/>
                    <a:pt x="9514" y="1843"/>
                  </a:cubicBezTo>
                  <a:cubicBezTo>
                    <a:pt x="9667" y="1905"/>
                    <a:pt x="9785" y="1990"/>
                    <a:pt x="9869" y="2102"/>
                  </a:cubicBezTo>
                  <a:close/>
                  <a:moveTo>
                    <a:pt x="2982" y="3652"/>
                  </a:moveTo>
                  <a:cubicBezTo>
                    <a:pt x="2965" y="3703"/>
                    <a:pt x="2969" y="3750"/>
                    <a:pt x="2994" y="3787"/>
                  </a:cubicBezTo>
                  <a:cubicBezTo>
                    <a:pt x="3018" y="3825"/>
                    <a:pt x="3059" y="3843"/>
                    <a:pt x="3114" y="3843"/>
                  </a:cubicBezTo>
                  <a:lnTo>
                    <a:pt x="6765" y="3843"/>
                  </a:lnTo>
                  <a:cubicBezTo>
                    <a:pt x="6817" y="3843"/>
                    <a:pt x="6869" y="3825"/>
                    <a:pt x="6918" y="3787"/>
                  </a:cubicBezTo>
                  <a:cubicBezTo>
                    <a:pt x="6968" y="3750"/>
                    <a:pt x="7002" y="3703"/>
                    <a:pt x="7017" y="3652"/>
                  </a:cubicBezTo>
                  <a:lnTo>
                    <a:pt x="7143" y="3268"/>
                  </a:lnTo>
                  <a:cubicBezTo>
                    <a:pt x="7159" y="3217"/>
                    <a:pt x="7155" y="3171"/>
                    <a:pt x="7130" y="3133"/>
                  </a:cubicBezTo>
                  <a:cubicBezTo>
                    <a:pt x="7107" y="3096"/>
                    <a:pt x="7065" y="3077"/>
                    <a:pt x="7010" y="3077"/>
                  </a:cubicBezTo>
                  <a:lnTo>
                    <a:pt x="3359" y="3077"/>
                  </a:lnTo>
                  <a:cubicBezTo>
                    <a:pt x="3308" y="3077"/>
                    <a:pt x="3255" y="3096"/>
                    <a:pt x="3207" y="3133"/>
                  </a:cubicBezTo>
                  <a:cubicBezTo>
                    <a:pt x="3157" y="3171"/>
                    <a:pt x="3123" y="3217"/>
                    <a:pt x="3108" y="3268"/>
                  </a:cubicBezTo>
                  <a:lnTo>
                    <a:pt x="2982" y="3652"/>
                  </a:lnTo>
                  <a:close/>
                  <a:moveTo>
                    <a:pt x="3479" y="2113"/>
                  </a:moveTo>
                  <a:cubicBezTo>
                    <a:pt x="3463" y="2165"/>
                    <a:pt x="3467" y="2211"/>
                    <a:pt x="3492" y="2248"/>
                  </a:cubicBezTo>
                  <a:cubicBezTo>
                    <a:pt x="3515" y="2286"/>
                    <a:pt x="3557" y="2305"/>
                    <a:pt x="3612" y="2305"/>
                  </a:cubicBezTo>
                  <a:lnTo>
                    <a:pt x="7263" y="2305"/>
                  </a:lnTo>
                  <a:cubicBezTo>
                    <a:pt x="7314" y="2305"/>
                    <a:pt x="7367" y="2286"/>
                    <a:pt x="7415" y="2248"/>
                  </a:cubicBezTo>
                  <a:cubicBezTo>
                    <a:pt x="7465" y="2211"/>
                    <a:pt x="7499" y="2165"/>
                    <a:pt x="7514" y="2113"/>
                  </a:cubicBezTo>
                  <a:lnTo>
                    <a:pt x="7640" y="1730"/>
                  </a:lnTo>
                  <a:cubicBezTo>
                    <a:pt x="7657" y="1678"/>
                    <a:pt x="7653" y="1632"/>
                    <a:pt x="7628" y="1595"/>
                  </a:cubicBezTo>
                  <a:cubicBezTo>
                    <a:pt x="7604" y="1557"/>
                    <a:pt x="7563" y="1538"/>
                    <a:pt x="7508" y="1538"/>
                  </a:cubicBezTo>
                  <a:lnTo>
                    <a:pt x="3858" y="1538"/>
                  </a:lnTo>
                  <a:cubicBezTo>
                    <a:pt x="3807" y="1538"/>
                    <a:pt x="3754" y="1557"/>
                    <a:pt x="3705" y="1595"/>
                  </a:cubicBezTo>
                  <a:cubicBezTo>
                    <a:pt x="3655" y="1632"/>
                    <a:pt x="3622" y="1678"/>
                    <a:pt x="3607" y="1730"/>
                  </a:cubicBezTo>
                  <a:lnTo>
                    <a:pt x="3479" y="2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47" name="文本框 46">
            <a:extLst>
              <a:ext uri="{FF2B5EF4-FFF2-40B4-BE49-F238E27FC236}">
                <a16:creationId xmlns:a16="http://schemas.microsoft.com/office/drawing/2014/main" id="{AF3BB7B0-19B4-411D-8D12-97E4B00D58E8}"/>
              </a:ext>
            </a:extLst>
          </p:cNvPr>
          <p:cNvSpPr txBox="1"/>
          <p:nvPr/>
        </p:nvSpPr>
        <p:spPr>
          <a:xfrm>
            <a:off x="7526745" y="5073490"/>
            <a:ext cx="22750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dirty="0">
                <a:solidFill>
                  <a:schemeClr val="bg1"/>
                </a:solidFill>
                <a:cs typeface="+mn-ea"/>
                <a:sym typeface="+mn-lt"/>
              </a:rPr>
              <a:t>06.</a:t>
            </a:r>
            <a:r>
              <a:rPr lang="zh-CN" altLang="en-US" sz="2000" dirty="0">
                <a:solidFill>
                  <a:schemeClr val="bg1"/>
                </a:solidFill>
                <a:cs typeface="+mn-ea"/>
                <a:sym typeface="+mn-lt"/>
              </a:rPr>
              <a:t>Add a title</a:t>
            </a:r>
          </a:p>
        </p:txBody>
      </p:sp>
      <p:grpSp>
        <p:nvGrpSpPr>
          <p:cNvPr id="48" name="组合 47">
            <a:extLst>
              <a:ext uri="{FF2B5EF4-FFF2-40B4-BE49-F238E27FC236}">
                <a16:creationId xmlns:a16="http://schemas.microsoft.com/office/drawing/2014/main" id="{8089AA22-3DF7-4FAB-821C-4FEC7EB51079}"/>
              </a:ext>
            </a:extLst>
          </p:cNvPr>
          <p:cNvGrpSpPr/>
          <p:nvPr/>
        </p:nvGrpSpPr>
        <p:grpSpPr>
          <a:xfrm rot="5400000">
            <a:off x="1750705" y="889333"/>
            <a:ext cx="101370" cy="1330760"/>
            <a:chOff x="508216" y="2820579"/>
            <a:chExt cx="196770" cy="2583143"/>
          </a:xfrm>
          <a:solidFill>
            <a:srgbClr val="6C79BA"/>
          </a:solidFill>
        </p:grpSpPr>
        <p:sp>
          <p:nvSpPr>
            <p:cNvPr id="49" name="椭圆 48">
              <a:extLst>
                <a:ext uri="{FF2B5EF4-FFF2-40B4-BE49-F238E27FC236}">
                  <a16:creationId xmlns:a16="http://schemas.microsoft.com/office/drawing/2014/main" id="{571E99F6-AE8C-41A7-8621-FB562241E091}"/>
                </a:ext>
              </a:extLst>
            </p:cNvPr>
            <p:cNvSpPr/>
            <p:nvPr/>
          </p:nvSpPr>
          <p:spPr>
            <a:xfrm>
              <a:off x="508217" y="2820579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50" name="直接连接符 49">
              <a:extLst>
                <a:ext uri="{FF2B5EF4-FFF2-40B4-BE49-F238E27FC236}">
                  <a16:creationId xmlns:a16="http://schemas.microsoft.com/office/drawing/2014/main" id="{ED3A5C70-BB35-4209-A3AE-037C750D1C28}"/>
                </a:ext>
              </a:extLst>
            </p:cNvPr>
            <p:cNvCxnSpPr/>
            <p:nvPr/>
          </p:nvCxnSpPr>
          <p:spPr>
            <a:xfrm>
              <a:off x="606601" y="3222594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椭圆 50">
              <a:extLst>
                <a:ext uri="{FF2B5EF4-FFF2-40B4-BE49-F238E27FC236}">
                  <a16:creationId xmlns:a16="http://schemas.microsoft.com/office/drawing/2014/main" id="{6862B028-8631-4ECE-B186-D3175EC271E6}"/>
                </a:ext>
              </a:extLst>
            </p:cNvPr>
            <p:cNvSpPr/>
            <p:nvPr/>
          </p:nvSpPr>
          <p:spPr>
            <a:xfrm>
              <a:off x="508216" y="4013766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52" name="直接连接符 51">
              <a:extLst>
                <a:ext uri="{FF2B5EF4-FFF2-40B4-BE49-F238E27FC236}">
                  <a16:creationId xmlns:a16="http://schemas.microsoft.com/office/drawing/2014/main" id="{0B21A147-91B5-4EEA-B9D7-91F2C03FF5B5}"/>
                </a:ext>
              </a:extLst>
            </p:cNvPr>
            <p:cNvCxnSpPr/>
            <p:nvPr/>
          </p:nvCxnSpPr>
          <p:spPr>
            <a:xfrm>
              <a:off x="606600" y="4415781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椭圆 52">
              <a:extLst>
                <a:ext uri="{FF2B5EF4-FFF2-40B4-BE49-F238E27FC236}">
                  <a16:creationId xmlns:a16="http://schemas.microsoft.com/office/drawing/2014/main" id="{466ED7D4-FE5C-477D-988F-82D5578357DA}"/>
                </a:ext>
              </a:extLst>
            </p:cNvPr>
            <p:cNvSpPr/>
            <p:nvPr/>
          </p:nvSpPr>
          <p:spPr>
            <a:xfrm>
              <a:off x="508216" y="5206953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54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C64A03BD-0B93-452D-B633-70C75A615987}"/>
              </a:ext>
            </a:extLst>
          </p:cNvPr>
          <p:cNvSpPr txBox="1"/>
          <p:nvPr/>
        </p:nvSpPr>
        <p:spPr>
          <a:xfrm>
            <a:off x="1147419" y="876298"/>
            <a:ext cx="1307939" cy="3991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600" kern="0" dirty="0">
                <a:solidFill>
                  <a:srgbClr val="6C79BA"/>
                </a:solidFill>
                <a:cs typeface="+mn-ea"/>
                <a:sym typeface="+mn-lt"/>
              </a:rPr>
              <a:t>Synergistically utilize technically sound portals with frictionless </a:t>
            </a:r>
            <a:r>
              <a:rPr sz="600" kern="0" dirty="0" err="1">
                <a:solidFill>
                  <a:srgbClr val="6C79BA"/>
                </a:solidFill>
                <a:cs typeface="+mn-ea"/>
                <a:sym typeface="+mn-lt"/>
              </a:rPr>
              <a:t>chains</a:t>
            </a:r>
            <a:r>
              <a:rPr lang="en-US" altLang="zh-CN" sz="600" kern="0" dirty="0" err="1">
                <a:solidFill>
                  <a:srgbClr val="6C79BA"/>
                </a:solidFill>
                <a:cs typeface="+mn-ea"/>
                <a:sym typeface="+mn-lt"/>
              </a:rPr>
              <a:t>Synergistically</a:t>
            </a:r>
            <a:endParaRPr lang="en-US" altLang="zh-CN" sz="600" kern="0" dirty="0">
              <a:solidFill>
                <a:srgbClr val="6C79BA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06623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2" grpId="0"/>
      <p:bldP spid="19" grpId="0"/>
      <p:bldP spid="26" grpId="0"/>
      <p:bldP spid="33" grpId="0"/>
      <p:bldP spid="40" grpId="0"/>
      <p:bldP spid="47" grpId="0"/>
      <p:bldP spid="54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31">
            <a:extLst>
              <a:ext uri="{FF2B5EF4-FFF2-40B4-BE49-F238E27FC236}">
                <a16:creationId xmlns:a16="http://schemas.microsoft.com/office/drawing/2014/main" id="{9B8CF867-303E-4648-97F4-6F98404BDBCC}"/>
              </a:ext>
            </a:extLst>
          </p:cNvPr>
          <p:cNvSpPr txBox="1"/>
          <p:nvPr/>
        </p:nvSpPr>
        <p:spPr>
          <a:xfrm rot="10800000" flipH="1">
            <a:off x="-20800" y="4080168"/>
            <a:ext cx="3841958" cy="2809874"/>
          </a:xfrm>
          <a:custGeom>
            <a:avLst/>
            <a:gdLst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54452"/>
              <a:gd name="connsiteX1" fmla="*/ 6674304 w 6674304"/>
              <a:gd name="connsiteY1" fmla="*/ 0 h 5954452"/>
              <a:gd name="connsiteX2" fmla="*/ 6672463 w 6674304"/>
              <a:gd name="connsiteY2" fmla="*/ 3528 h 5954452"/>
              <a:gd name="connsiteX3" fmla="*/ 6142663 w 6674304"/>
              <a:gd name="connsiteY3" fmla="*/ 1686835 h 5954452"/>
              <a:gd name="connsiteX4" fmla="*/ 4132917 w 6674304"/>
              <a:gd name="connsiteY4" fmla="*/ 2753737 h 5954452"/>
              <a:gd name="connsiteX5" fmla="*/ 3289320 w 6674304"/>
              <a:gd name="connsiteY5" fmla="*/ 4862728 h 5954452"/>
              <a:gd name="connsiteX6" fmla="*/ 1763402 w 6674304"/>
              <a:gd name="connsiteY6" fmla="*/ 5954443 h 5954452"/>
              <a:gd name="connsiteX7" fmla="*/ 63803 w 6674304"/>
              <a:gd name="connsiteY7" fmla="*/ 5470616 h 5954452"/>
              <a:gd name="connsiteX8" fmla="*/ 0 w 6674304"/>
              <a:gd name="connsiteY8" fmla="*/ 5467195 h 5954452"/>
              <a:gd name="connsiteX9" fmla="*/ 0 w 6674304"/>
              <a:gd name="connsiteY9" fmla="*/ 0 h 5954452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323857 w 6674304"/>
              <a:gd name="connsiteY5" fmla="*/ 488071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7613"/>
              <a:gd name="connsiteX1" fmla="*/ 6674304 w 6674304"/>
              <a:gd name="connsiteY1" fmla="*/ 0 h 5957613"/>
              <a:gd name="connsiteX2" fmla="*/ 6672463 w 6674304"/>
              <a:gd name="connsiteY2" fmla="*/ 3528 h 5957613"/>
              <a:gd name="connsiteX3" fmla="*/ 6142663 w 6674304"/>
              <a:gd name="connsiteY3" fmla="*/ 1686835 h 5957613"/>
              <a:gd name="connsiteX4" fmla="*/ 4132917 w 6674304"/>
              <a:gd name="connsiteY4" fmla="*/ 2753737 h 5957613"/>
              <a:gd name="connsiteX5" fmla="*/ 3323857 w 6674304"/>
              <a:gd name="connsiteY5" fmla="*/ 4880718 h 5957613"/>
              <a:gd name="connsiteX6" fmla="*/ 1763402 w 6674304"/>
              <a:gd name="connsiteY6" fmla="*/ 5954443 h 5957613"/>
              <a:gd name="connsiteX7" fmla="*/ 63803 w 6674304"/>
              <a:gd name="connsiteY7" fmla="*/ 5470616 h 5957613"/>
              <a:gd name="connsiteX8" fmla="*/ 0 w 6674304"/>
              <a:gd name="connsiteY8" fmla="*/ 5467195 h 5957613"/>
              <a:gd name="connsiteX9" fmla="*/ 0 w 6674304"/>
              <a:gd name="connsiteY9" fmla="*/ 0 h 5957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74304" h="5957613">
                <a:moveTo>
                  <a:pt x="0" y="0"/>
                </a:moveTo>
                <a:lnTo>
                  <a:pt x="6674304" y="0"/>
                </a:lnTo>
                <a:lnTo>
                  <a:pt x="6672463" y="3528"/>
                </a:lnTo>
                <a:cubicBezTo>
                  <a:pt x="6485641" y="423111"/>
                  <a:pt x="6718539" y="1011007"/>
                  <a:pt x="6142663" y="1686835"/>
                </a:cubicBezTo>
                <a:cubicBezTo>
                  <a:pt x="5728792" y="2172540"/>
                  <a:pt x="4602718" y="2221423"/>
                  <a:pt x="4132917" y="2753737"/>
                </a:cubicBezTo>
                <a:cubicBezTo>
                  <a:pt x="3663116" y="3286051"/>
                  <a:pt x="3658337" y="4266313"/>
                  <a:pt x="3323857" y="4880718"/>
                </a:cubicBezTo>
                <a:cubicBezTo>
                  <a:pt x="2989377" y="5495123"/>
                  <a:pt x="2577285" y="5862125"/>
                  <a:pt x="1763402" y="5954443"/>
                </a:cubicBezTo>
                <a:cubicBezTo>
                  <a:pt x="1230133" y="6001788"/>
                  <a:pt x="551766" y="5503698"/>
                  <a:pt x="63803" y="5470616"/>
                </a:cubicBezTo>
                <a:lnTo>
                  <a:pt x="0" y="5467195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0" marR="0" lvl="1" indent="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latin typeface="+mn-lt"/>
              <a:cs typeface="+mn-ea"/>
              <a:sym typeface="+mn-lt"/>
            </a:endParaRPr>
          </a:p>
        </p:txBody>
      </p:sp>
      <p:sp>
        <p:nvSpPr>
          <p:cNvPr id="26" name="Freeform: Shape 28">
            <a:extLst>
              <a:ext uri="{FF2B5EF4-FFF2-40B4-BE49-F238E27FC236}">
                <a16:creationId xmlns:a16="http://schemas.microsoft.com/office/drawing/2014/main" id="{BF709F12-0348-4592-B13A-EEAC8D372363}"/>
              </a:ext>
            </a:extLst>
          </p:cNvPr>
          <p:cNvSpPr/>
          <p:nvPr/>
        </p:nvSpPr>
        <p:spPr>
          <a:xfrm>
            <a:off x="5451676" y="0"/>
            <a:ext cx="6740324" cy="6858000"/>
          </a:xfrm>
          <a:custGeom>
            <a:avLst/>
            <a:gdLst>
              <a:gd name="connsiteX0" fmla="*/ 6050384 w 8632154"/>
              <a:gd name="connsiteY0" fmla="*/ 0 h 6858000"/>
              <a:gd name="connsiteX1" fmla="*/ 8632154 w 8632154"/>
              <a:gd name="connsiteY1" fmla="*/ 0 h 6858000"/>
              <a:gd name="connsiteX2" fmla="*/ 8632154 w 8632154"/>
              <a:gd name="connsiteY2" fmla="*/ 6858000 h 6858000"/>
              <a:gd name="connsiteX3" fmla="*/ 0 w 8632154"/>
              <a:gd name="connsiteY3" fmla="*/ 6858000 h 6858000"/>
              <a:gd name="connsiteX4" fmla="*/ 17136 w 8632154"/>
              <a:gd name="connsiteY4" fmla="*/ 6850412 h 6858000"/>
              <a:gd name="connsiteX5" fmla="*/ 1326096 w 8632154"/>
              <a:gd name="connsiteY5" fmla="*/ 5732390 h 6858000"/>
              <a:gd name="connsiteX6" fmla="*/ 2315345 w 8632154"/>
              <a:gd name="connsiteY6" fmla="*/ 3259269 h 6858000"/>
              <a:gd name="connsiteX7" fmla="*/ 4672086 w 8632154"/>
              <a:gd name="connsiteY7" fmla="*/ 2008159 h 6858000"/>
              <a:gd name="connsiteX8" fmla="*/ 5848499 w 8632154"/>
              <a:gd name="connsiteY8" fmla="*/ 9045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32154" h="6858000">
                <a:moveTo>
                  <a:pt x="6050384" y="0"/>
                </a:moveTo>
                <a:lnTo>
                  <a:pt x="8632154" y="0"/>
                </a:lnTo>
                <a:lnTo>
                  <a:pt x="8632154" y="6858000"/>
                </a:lnTo>
                <a:lnTo>
                  <a:pt x="0" y="6858000"/>
                </a:lnTo>
                <a:lnTo>
                  <a:pt x="17136" y="6850412"/>
                </a:lnTo>
                <a:cubicBezTo>
                  <a:pt x="500509" y="6620261"/>
                  <a:pt x="978767" y="6201556"/>
                  <a:pt x="1326096" y="5732390"/>
                </a:cubicBezTo>
                <a:cubicBezTo>
                  <a:pt x="1789202" y="5106837"/>
                  <a:pt x="1757679" y="3879973"/>
                  <a:pt x="2315345" y="3259269"/>
                </a:cubicBezTo>
                <a:cubicBezTo>
                  <a:pt x="2873010" y="2638564"/>
                  <a:pt x="4167763" y="2560976"/>
                  <a:pt x="4672086" y="2008159"/>
                </a:cubicBezTo>
                <a:cubicBezTo>
                  <a:pt x="5085790" y="1554678"/>
                  <a:pt x="4955167" y="563510"/>
                  <a:pt x="5848499" y="90459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7" name="Google Shape;1023;p41">
            <a:extLst>
              <a:ext uri="{FF2B5EF4-FFF2-40B4-BE49-F238E27FC236}">
                <a16:creationId xmlns:a16="http://schemas.microsoft.com/office/drawing/2014/main" id="{E111C823-9906-4AD2-8EB4-35909D125165}"/>
              </a:ext>
            </a:extLst>
          </p:cNvPr>
          <p:cNvSpPr/>
          <p:nvPr/>
        </p:nvSpPr>
        <p:spPr>
          <a:xfrm>
            <a:off x="427735" y="1296773"/>
            <a:ext cx="11517337" cy="503046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023" name="Google Shape;1023;p41"/>
          <p:cNvSpPr/>
          <p:nvPr/>
        </p:nvSpPr>
        <p:spPr>
          <a:xfrm>
            <a:off x="1547917" y="2547839"/>
            <a:ext cx="4302000" cy="3270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024" name="Google Shape;1024;p41"/>
          <p:cNvSpPr/>
          <p:nvPr/>
        </p:nvSpPr>
        <p:spPr>
          <a:xfrm>
            <a:off x="6694100" y="2547839"/>
            <a:ext cx="4302000" cy="32708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025" name="Google Shape;1025;p41"/>
          <p:cNvSpPr/>
          <p:nvPr/>
        </p:nvSpPr>
        <p:spPr>
          <a:xfrm flipH="1">
            <a:off x="8137981" y="1608386"/>
            <a:ext cx="1414400" cy="1414400"/>
          </a:xfrm>
          <a:prstGeom prst="ellipse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026" name="Google Shape;1026;p41"/>
          <p:cNvSpPr/>
          <p:nvPr/>
        </p:nvSpPr>
        <p:spPr>
          <a:xfrm flipH="1">
            <a:off x="2991728" y="1608386"/>
            <a:ext cx="1414577" cy="1414200"/>
          </a:xfrm>
          <a:prstGeom prst="ellipse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027" name="Google Shape;1027;p41"/>
          <p:cNvSpPr/>
          <p:nvPr/>
        </p:nvSpPr>
        <p:spPr>
          <a:xfrm flipH="1">
            <a:off x="3426619" y="2043371"/>
            <a:ext cx="544891" cy="544128"/>
          </a:xfrm>
          <a:custGeom>
            <a:avLst/>
            <a:gdLst/>
            <a:ahLst/>
            <a:cxnLst/>
            <a:rect l="l" t="t" r="r" b="b"/>
            <a:pathLst>
              <a:path w="672526" h="671763" extrusionOk="0">
                <a:moveTo>
                  <a:pt x="92404" y="0"/>
                </a:moveTo>
                <a:cubicBezTo>
                  <a:pt x="116117" y="0"/>
                  <a:pt x="139852" y="8993"/>
                  <a:pt x="157940" y="26977"/>
                </a:cubicBezTo>
                <a:lnTo>
                  <a:pt x="336263" y="205079"/>
                </a:lnTo>
                <a:lnTo>
                  <a:pt x="514585" y="26977"/>
                </a:lnTo>
                <a:cubicBezTo>
                  <a:pt x="550585" y="-8992"/>
                  <a:pt x="609526" y="-8992"/>
                  <a:pt x="645526" y="26977"/>
                </a:cubicBezTo>
                <a:cubicBezTo>
                  <a:pt x="681526" y="62945"/>
                  <a:pt x="681526" y="121658"/>
                  <a:pt x="645526" y="157803"/>
                </a:cubicBezTo>
                <a:lnTo>
                  <a:pt x="467227" y="335882"/>
                </a:lnTo>
                <a:lnTo>
                  <a:pt x="645526" y="513961"/>
                </a:lnTo>
                <a:cubicBezTo>
                  <a:pt x="681526" y="549930"/>
                  <a:pt x="681526" y="608819"/>
                  <a:pt x="645526" y="644787"/>
                </a:cubicBezTo>
                <a:cubicBezTo>
                  <a:pt x="609526" y="680756"/>
                  <a:pt x="550585" y="680756"/>
                  <a:pt x="514585" y="644787"/>
                </a:cubicBezTo>
                <a:lnTo>
                  <a:pt x="336263" y="466685"/>
                </a:lnTo>
                <a:lnTo>
                  <a:pt x="157940" y="644787"/>
                </a:lnTo>
                <a:cubicBezTo>
                  <a:pt x="121764" y="680756"/>
                  <a:pt x="63000" y="680756"/>
                  <a:pt x="27000" y="644787"/>
                </a:cubicBezTo>
                <a:cubicBezTo>
                  <a:pt x="-9000" y="608819"/>
                  <a:pt x="-9000" y="549930"/>
                  <a:pt x="27000" y="513961"/>
                </a:cubicBezTo>
                <a:lnTo>
                  <a:pt x="205299" y="335882"/>
                </a:lnTo>
                <a:lnTo>
                  <a:pt x="27000" y="157803"/>
                </a:lnTo>
                <a:cubicBezTo>
                  <a:pt x="-9000" y="121658"/>
                  <a:pt x="-9000" y="62945"/>
                  <a:pt x="27000" y="26977"/>
                </a:cubicBezTo>
                <a:cubicBezTo>
                  <a:pt x="45000" y="8993"/>
                  <a:pt x="68691" y="0"/>
                  <a:pt x="92404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45733" tIns="22867" rIns="45733" bIns="22867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737572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28" name="Google Shape;1028;p41"/>
          <p:cNvSpPr/>
          <p:nvPr/>
        </p:nvSpPr>
        <p:spPr>
          <a:xfrm>
            <a:off x="8469871" y="2021521"/>
            <a:ext cx="750732" cy="587940"/>
          </a:xfrm>
          <a:custGeom>
            <a:avLst/>
            <a:gdLst/>
            <a:ahLst/>
            <a:cxnLst/>
            <a:rect l="l" t="t" r="r" b="b"/>
            <a:pathLst>
              <a:path w="5250" h="4113" extrusionOk="0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45733" tIns="22867" rIns="45733" bIns="22867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737572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29" name="Google Shape;1029;p41"/>
          <p:cNvSpPr/>
          <p:nvPr/>
        </p:nvSpPr>
        <p:spPr>
          <a:xfrm>
            <a:off x="6881732" y="4129630"/>
            <a:ext cx="581141" cy="581141"/>
          </a:xfrm>
          <a:prstGeom prst="ellipse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030" name="Google Shape;1030;p41"/>
          <p:cNvSpPr/>
          <p:nvPr/>
        </p:nvSpPr>
        <p:spPr>
          <a:xfrm>
            <a:off x="7018097" y="4299402"/>
            <a:ext cx="308416" cy="241608"/>
          </a:xfrm>
          <a:custGeom>
            <a:avLst/>
            <a:gdLst/>
            <a:ahLst/>
            <a:cxnLst/>
            <a:rect l="l" t="t" r="r" b="b"/>
            <a:pathLst>
              <a:path w="5250" h="4113" extrusionOk="0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45733" tIns="22867" rIns="45733" bIns="22867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737572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31" name="Google Shape;1031;p41"/>
          <p:cNvSpPr/>
          <p:nvPr/>
        </p:nvSpPr>
        <p:spPr>
          <a:xfrm>
            <a:off x="6881732" y="5009038"/>
            <a:ext cx="581141" cy="581141"/>
          </a:xfrm>
          <a:prstGeom prst="ellipse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032" name="Google Shape;1032;p41"/>
          <p:cNvSpPr/>
          <p:nvPr/>
        </p:nvSpPr>
        <p:spPr>
          <a:xfrm>
            <a:off x="7018097" y="5178809"/>
            <a:ext cx="308416" cy="241608"/>
          </a:xfrm>
          <a:custGeom>
            <a:avLst/>
            <a:gdLst/>
            <a:ahLst/>
            <a:cxnLst/>
            <a:rect l="l" t="t" r="r" b="b"/>
            <a:pathLst>
              <a:path w="5250" h="4113" extrusionOk="0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45733" tIns="22867" rIns="45733" bIns="22867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737572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33" name="Google Shape;1033;p41"/>
          <p:cNvSpPr/>
          <p:nvPr/>
        </p:nvSpPr>
        <p:spPr>
          <a:xfrm>
            <a:off x="6881732" y="3248537"/>
            <a:ext cx="581141" cy="581141"/>
          </a:xfrm>
          <a:prstGeom prst="ellipse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034" name="Google Shape;1034;p41"/>
          <p:cNvSpPr/>
          <p:nvPr/>
        </p:nvSpPr>
        <p:spPr>
          <a:xfrm>
            <a:off x="7018097" y="3418307"/>
            <a:ext cx="308416" cy="241608"/>
          </a:xfrm>
          <a:custGeom>
            <a:avLst/>
            <a:gdLst/>
            <a:ahLst/>
            <a:cxnLst/>
            <a:rect l="l" t="t" r="r" b="b"/>
            <a:pathLst>
              <a:path w="5250" h="4113" extrusionOk="0">
                <a:moveTo>
                  <a:pt x="1845" y="4112"/>
                </a:moveTo>
                <a:lnTo>
                  <a:pt x="205" y="2473"/>
                </a:lnTo>
                <a:lnTo>
                  <a:pt x="205" y="2473"/>
                </a:lnTo>
                <a:cubicBezTo>
                  <a:pt x="0" y="2267"/>
                  <a:pt x="0" y="1935"/>
                  <a:pt x="205" y="1730"/>
                </a:cubicBezTo>
                <a:lnTo>
                  <a:pt x="205" y="1730"/>
                </a:lnTo>
                <a:cubicBezTo>
                  <a:pt x="410" y="1524"/>
                  <a:pt x="743" y="1524"/>
                  <a:pt x="948" y="1730"/>
                </a:cubicBezTo>
                <a:lnTo>
                  <a:pt x="1849" y="2630"/>
                </a:lnTo>
                <a:lnTo>
                  <a:pt x="4302" y="205"/>
                </a:lnTo>
                <a:lnTo>
                  <a:pt x="4302" y="205"/>
                </a:lnTo>
                <a:cubicBezTo>
                  <a:pt x="4508" y="0"/>
                  <a:pt x="4841" y="2"/>
                  <a:pt x="5045" y="209"/>
                </a:cubicBezTo>
                <a:lnTo>
                  <a:pt x="5045" y="209"/>
                </a:lnTo>
                <a:cubicBezTo>
                  <a:pt x="5249" y="415"/>
                  <a:pt x="5247" y="748"/>
                  <a:pt x="5041" y="952"/>
                </a:cubicBezTo>
                <a:lnTo>
                  <a:pt x="1845" y="4112"/>
                </a:ln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45733" tIns="22867" rIns="45733" bIns="22867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737572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35" name="Google Shape;1035;p41"/>
          <p:cNvSpPr/>
          <p:nvPr/>
        </p:nvSpPr>
        <p:spPr>
          <a:xfrm flipH="1">
            <a:off x="1735390" y="3241982"/>
            <a:ext cx="581141" cy="581141"/>
          </a:xfrm>
          <a:prstGeom prst="ellipse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036" name="Google Shape;1036;p41"/>
          <p:cNvSpPr/>
          <p:nvPr/>
        </p:nvSpPr>
        <p:spPr>
          <a:xfrm flipH="1">
            <a:off x="1914054" y="3420731"/>
            <a:ext cx="223855" cy="223600"/>
          </a:xfrm>
          <a:custGeom>
            <a:avLst/>
            <a:gdLst/>
            <a:ahLst/>
            <a:cxnLst/>
            <a:rect l="l" t="t" r="r" b="b"/>
            <a:pathLst>
              <a:path w="672526" h="671763" extrusionOk="0">
                <a:moveTo>
                  <a:pt x="92404" y="0"/>
                </a:moveTo>
                <a:cubicBezTo>
                  <a:pt x="116117" y="0"/>
                  <a:pt x="139852" y="8993"/>
                  <a:pt x="157940" y="26977"/>
                </a:cubicBezTo>
                <a:lnTo>
                  <a:pt x="336263" y="205079"/>
                </a:lnTo>
                <a:lnTo>
                  <a:pt x="514585" y="26977"/>
                </a:lnTo>
                <a:cubicBezTo>
                  <a:pt x="550585" y="-8992"/>
                  <a:pt x="609526" y="-8992"/>
                  <a:pt x="645526" y="26977"/>
                </a:cubicBezTo>
                <a:cubicBezTo>
                  <a:pt x="681526" y="62945"/>
                  <a:pt x="681526" y="121658"/>
                  <a:pt x="645526" y="157803"/>
                </a:cubicBezTo>
                <a:lnTo>
                  <a:pt x="467227" y="335882"/>
                </a:lnTo>
                <a:lnTo>
                  <a:pt x="645526" y="513961"/>
                </a:lnTo>
                <a:cubicBezTo>
                  <a:pt x="681526" y="549930"/>
                  <a:pt x="681526" y="608819"/>
                  <a:pt x="645526" y="644787"/>
                </a:cubicBezTo>
                <a:cubicBezTo>
                  <a:pt x="609526" y="680756"/>
                  <a:pt x="550585" y="680756"/>
                  <a:pt x="514585" y="644787"/>
                </a:cubicBezTo>
                <a:lnTo>
                  <a:pt x="336263" y="466685"/>
                </a:lnTo>
                <a:lnTo>
                  <a:pt x="157940" y="644787"/>
                </a:lnTo>
                <a:cubicBezTo>
                  <a:pt x="121764" y="680756"/>
                  <a:pt x="63000" y="680756"/>
                  <a:pt x="27000" y="644787"/>
                </a:cubicBezTo>
                <a:cubicBezTo>
                  <a:pt x="-9000" y="608819"/>
                  <a:pt x="-9000" y="549930"/>
                  <a:pt x="27000" y="513961"/>
                </a:cubicBezTo>
                <a:lnTo>
                  <a:pt x="205299" y="335882"/>
                </a:lnTo>
                <a:lnTo>
                  <a:pt x="27000" y="157803"/>
                </a:lnTo>
                <a:cubicBezTo>
                  <a:pt x="-9000" y="121658"/>
                  <a:pt x="-9000" y="62945"/>
                  <a:pt x="27000" y="26977"/>
                </a:cubicBezTo>
                <a:cubicBezTo>
                  <a:pt x="45000" y="8993"/>
                  <a:pt x="68691" y="0"/>
                  <a:pt x="92404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45733" tIns="22867" rIns="45733" bIns="22867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737572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37" name="Google Shape;1037;p41"/>
          <p:cNvSpPr/>
          <p:nvPr/>
        </p:nvSpPr>
        <p:spPr>
          <a:xfrm flipH="1">
            <a:off x="1735390" y="4129610"/>
            <a:ext cx="581141" cy="581141"/>
          </a:xfrm>
          <a:prstGeom prst="ellipse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038" name="Google Shape;1038;p41"/>
          <p:cNvSpPr/>
          <p:nvPr/>
        </p:nvSpPr>
        <p:spPr>
          <a:xfrm flipH="1">
            <a:off x="1914054" y="4308361"/>
            <a:ext cx="223855" cy="223600"/>
          </a:xfrm>
          <a:custGeom>
            <a:avLst/>
            <a:gdLst/>
            <a:ahLst/>
            <a:cxnLst/>
            <a:rect l="l" t="t" r="r" b="b"/>
            <a:pathLst>
              <a:path w="672526" h="671763" extrusionOk="0">
                <a:moveTo>
                  <a:pt x="92404" y="0"/>
                </a:moveTo>
                <a:cubicBezTo>
                  <a:pt x="116117" y="0"/>
                  <a:pt x="139852" y="8993"/>
                  <a:pt x="157940" y="26977"/>
                </a:cubicBezTo>
                <a:lnTo>
                  <a:pt x="336263" y="205079"/>
                </a:lnTo>
                <a:lnTo>
                  <a:pt x="514585" y="26977"/>
                </a:lnTo>
                <a:cubicBezTo>
                  <a:pt x="550585" y="-8992"/>
                  <a:pt x="609526" y="-8992"/>
                  <a:pt x="645526" y="26977"/>
                </a:cubicBezTo>
                <a:cubicBezTo>
                  <a:pt x="681526" y="62945"/>
                  <a:pt x="681526" y="121658"/>
                  <a:pt x="645526" y="157803"/>
                </a:cubicBezTo>
                <a:lnTo>
                  <a:pt x="467227" y="335882"/>
                </a:lnTo>
                <a:lnTo>
                  <a:pt x="645526" y="513961"/>
                </a:lnTo>
                <a:cubicBezTo>
                  <a:pt x="681526" y="549930"/>
                  <a:pt x="681526" y="608819"/>
                  <a:pt x="645526" y="644787"/>
                </a:cubicBezTo>
                <a:cubicBezTo>
                  <a:pt x="609526" y="680756"/>
                  <a:pt x="550585" y="680756"/>
                  <a:pt x="514585" y="644787"/>
                </a:cubicBezTo>
                <a:lnTo>
                  <a:pt x="336263" y="466685"/>
                </a:lnTo>
                <a:lnTo>
                  <a:pt x="157940" y="644787"/>
                </a:lnTo>
                <a:cubicBezTo>
                  <a:pt x="121764" y="680756"/>
                  <a:pt x="63000" y="680756"/>
                  <a:pt x="27000" y="644787"/>
                </a:cubicBezTo>
                <a:cubicBezTo>
                  <a:pt x="-9000" y="608819"/>
                  <a:pt x="-9000" y="549930"/>
                  <a:pt x="27000" y="513961"/>
                </a:cubicBezTo>
                <a:lnTo>
                  <a:pt x="205299" y="335882"/>
                </a:lnTo>
                <a:lnTo>
                  <a:pt x="27000" y="157803"/>
                </a:lnTo>
                <a:cubicBezTo>
                  <a:pt x="-9000" y="121658"/>
                  <a:pt x="-9000" y="62945"/>
                  <a:pt x="27000" y="26977"/>
                </a:cubicBezTo>
                <a:cubicBezTo>
                  <a:pt x="45000" y="8993"/>
                  <a:pt x="68691" y="0"/>
                  <a:pt x="92404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45733" tIns="22867" rIns="45733" bIns="22867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737572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39" name="Google Shape;1039;p41"/>
          <p:cNvSpPr/>
          <p:nvPr/>
        </p:nvSpPr>
        <p:spPr>
          <a:xfrm flipH="1">
            <a:off x="1735390" y="5009018"/>
            <a:ext cx="581141" cy="581141"/>
          </a:xfrm>
          <a:prstGeom prst="ellipse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040" name="Google Shape;1040;p41"/>
          <p:cNvSpPr/>
          <p:nvPr/>
        </p:nvSpPr>
        <p:spPr>
          <a:xfrm flipH="1">
            <a:off x="1914054" y="5187769"/>
            <a:ext cx="223855" cy="223600"/>
          </a:xfrm>
          <a:custGeom>
            <a:avLst/>
            <a:gdLst/>
            <a:ahLst/>
            <a:cxnLst/>
            <a:rect l="l" t="t" r="r" b="b"/>
            <a:pathLst>
              <a:path w="672526" h="671763" extrusionOk="0">
                <a:moveTo>
                  <a:pt x="92404" y="0"/>
                </a:moveTo>
                <a:cubicBezTo>
                  <a:pt x="116117" y="0"/>
                  <a:pt x="139852" y="8993"/>
                  <a:pt x="157940" y="26977"/>
                </a:cubicBezTo>
                <a:lnTo>
                  <a:pt x="336263" y="205079"/>
                </a:lnTo>
                <a:lnTo>
                  <a:pt x="514585" y="26977"/>
                </a:lnTo>
                <a:cubicBezTo>
                  <a:pt x="550585" y="-8992"/>
                  <a:pt x="609526" y="-8992"/>
                  <a:pt x="645526" y="26977"/>
                </a:cubicBezTo>
                <a:cubicBezTo>
                  <a:pt x="681526" y="62945"/>
                  <a:pt x="681526" y="121658"/>
                  <a:pt x="645526" y="157803"/>
                </a:cubicBezTo>
                <a:lnTo>
                  <a:pt x="467227" y="335882"/>
                </a:lnTo>
                <a:lnTo>
                  <a:pt x="645526" y="513961"/>
                </a:lnTo>
                <a:cubicBezTo>
                  <a:pt x="681526" y="549930"/>
                  <a:pt x="681526" y="608819"/>
                  <a:pt x="645526" y="644787"/>
                </a:cubicBezTo>
                <a:cubicBezTo>
                  <a:pt x="609526" y="680756"/>
                  <a:pt x="550585" y="680756"/>
                  <a:pt x="514585" y="644787"/>
                </a:cubicBezTo>
                <a:lnTo>
                  <a:pt x="336263" y="466685"/>
                </a:lnTo>
                <a:lnTo>
                  <a:pt x="157940" y="644787"/>
                </a:lnTo>
                <a:cubicBezTo>
                  <a:pt x="121764" y="680756"/>
                  <a:pt x="63000" y="680756"/>
                  <a:pt x="27000" y="644787"/>
                </a:cubicBezTo>
                <a:cubicBezTo>
                  <a:pt x="-9000" y="608819"/>
                  <a:pt x="-9000" y="549930"/>
                  <a:pt x="27000" y="513961"/>
                </a:cubicBezTo>
                <a:lnTo>
                  <a:pt x="205299" y="335882"/>
                </a:lnTo>
                <a:lnTo>
                  <a:pt x="27000" y="157803"/>
                </a:lnTo>
                <a:cubicBezTo>
                  <a:pt x="-9000" y="121658"/>
                  <a:pt x="-9000" y="62945"/>
                  <a:pt x="27000" y="26977"/>
                </a:cubicBezTo>
                <a:cubicBezTo>
                  <a:pt x="45000" y="8993"/>
                  <a:pt x="68691" y="0"/>
                  <a:pt x="92404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45733" tIns="22867" rIns="45733" bIns="22867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737572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EB30120B-9C99-4B62-9529-7A3FEBA87F21}"/>
              </a:ext>
            </a:extLst>
          </p:cNvPr>
          <p:cNvGrpSpPr/>
          <p:nvPr/>
        </p:nvGrpSpPr>
        <p:grpSpPr>
          <a:xfrm>
            <a:off x="541064" y="382712"/>
            <a:ext cx="2582174" cy="500937"/>
            <a:chOff x="423052" y="305730"/>
            <a:chExt cx="2582174" cy="500937"/>
          </a:xfrm>
          <a:gradFill>
            <a:gsLst>
              <a:gs pos="0">
                <a:srgbClr val="1669E0"/>
              </a:gs>
              <a:gs pos="100000">
                <a:srgbClr val="37A6FF"/>
              </a:gs>
            </a:gsLst>
            <a:lin ang="5400012" scaled="0"/>
          </a:gradFill>
        </p:grpSpPr>
        <p:sp>
          <p:nvSpPr>
            <p:cNvPr id="21" name="Rectangle: Rounded Corners 34">
              <a:extLst>
                <a:ext uri="{FF2B5EF4-FFF2-40B4-BE49-F238E27FC236}">
                  <a16:creationId xmlns:a16="http://schemas.microsoft.com/office/drawing/2014/main" id="{B5D4A748-0DE1-4A85-B0B3-1CD6F753EFB0}"/>
                </a:ext>
              </a:extLst>
            </p:cNvPr>
            <p:cNvSpPr/>
            <p:nvPr/>
          </p:nvSpPr>
          <p:spPr>
            <a:xfrm>
              <a:off x="815816" y="305730"/>
              <a:ext cx="1830269" cy="50093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r>
                <a:rPr lang="en-US">
                  <a:solidFill>
                    <a:prstClr val="white"/>
                  </a:solidFill>
                  <a:cs typeface="+mn-ea"/>
                  <a:sym typeface="+mn-lt"/>
                </a:rPr>
                <a:t> </a:t>
              </a:r>
              <a:endParaRPr lang="en-US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2" name="iṩļïḓè">
              <a:extLst>
                <a:ext uri="{FF2B5EF4-FFF2-40B4-BE49-F238E27FC236}">
                  <a16:creationId xmlns:a16="http://schemas.microsoft.com/office/drawing/2014/main" id="{0A51B54A-BFBA-4C10-B737-6EBE2D033ED5}"/>
                </a:ext>
              </a:extLst>
            </p:cNvPr>
            <p:cNvSpPr txBox="1"/>
            <p:nvPr/>
          </p:nvSpPr>
          <p:spPr bwMode="auto">
            <a:xfrm>
              <a:off x="943549" y="407694"/>
              <a:ext cx="1534794" cy="33865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solidFill>
                    <a:prstClr val="white"/>
                  </a:solidFill>
                  <a:latin typeface="Calibri" panose="020F05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dist" defTabSz="914400"/>
              <a:r>
                <a:rPr lang="en-US" altLang="zh-CN" sz="1400" dirty="0">
                  <a:solidFill>
                    <a:srgbClr val="0F65B4"/>
                  </a:solidFill>
                  <a:cs typeface="+mn-ea"/>
                  <a:sym typeface="+mn-lt"/>
                </a:rPr>
                <a:t>Jpppt.com</a:t>
              </a:r>
            </a:p>
          </p:txBody>
        </p: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44168853-E355-430A-BEEB-45BFFA0DC82A}"/>
                </a:ext>
              </a:extLst>
            </p:cNvPr>
            <p:cNvSpPr/>
            <p:nvPr/>
          </p:nvSpPr>
          <p:spPr>
            <a:xfrm>
              <a:off x="423052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4" name="椭圆 23">
              <a:extLst>
                <a:ext uri="{FF2B5EF4-FFF2-40B4-BE49-F238E27FC236}">
                  <a16:creationId xmlns:a16="http://schemas.microsoft.com/office/drawing/2014/main" id="{805D7B7E-4A00-4830-8C2C-29340158B0CF}"/>
                </a:ext>
              </a:extLst>
            </p:cNvPr>
            <p:cNvSpPr/>
            <p:nvPr/>
          </p:nvSpPr>
          <p:spPr>
            <a:xfrm>
              <a:off x="2800384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  <p:sp>
        <p:nvSpPr>
          <p:cNvPr id="2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A84A2581-4F9E-40C9-B88D-444038352861}"/>
              </a:ext>
            </a:extLst>
          </p:cNvPr>
          <p:cNvSpPr txBox="1"/>
          <p:nvPr/>
        </p:nvSpPr>
        <p:spPr>
          <a:xfrm>
            <a:off x="2454883" y="3182096"/>
            <a:ext cx="3033254" cy="7220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</a:t>
            </a:r>
          </a:p>
        </p:txBody>
      </p:sp>
      <p:sp>
        <p:nvSpPr>
          <p:cNvPr id="30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93EC8F61-DFA3-4F19-B3B9-85393D1CD169}"/>
              </a:ext>
            </a:extLst>
          </p:cNvPr>
          <p:cNvSpPr txBox="1"/>
          <p:nvPr/>
        </p:nvSpPr>
        <p:spPr>
          <a:xfrm>
            <a:off x="2454883" y="4079004"/>
            <a:ext cx="3033254" cy="7220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</a:t>
            </a:r>
          </a:p>
        </p:txBody>
      </p:sp>
      <p:sp>
        <p:nvSpPr>
          <p:cNvPr id="31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6BD26AAE-851C-419A-95EA-93359795B171}"/>
              </a:ext>
            </a:extLst>
          </p:cNvPr>
          <p:cNvSpPr txBox="1"/>
          <p:nvPr/>
        </p:nvSpPr>
        <p:spPr>
          <a:xfrm>
            <a:off x="2454883" y="4930660"/>
            <a:ext cx="3033254" cy="7220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</a:t>
            </a:r>
          </a:p>
        </p:txBody>
      </p:sp>
      <p:sp>
        <p:nvSpPr>
          <p:cNvPr id="32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EB17D839-81A8-4A64-93F2-27558DD9C434}"/>
              </a:ext>
            </a:extLst>
          </p:cNvPr>
          <p:cNvSpPr txBox="1"/>
          <p:nvPr/>
        </p:nvSpPr>
        <p:spPr>
          <a:xfrm>
            <a:off x="7636349" y="3253916"/>
            <a:ext cx="3033254" cy="7220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</a:t>
            </a:r>
          </a:p>
        </p:txBody>
      </p:sp>
      <p:sp>
        <p:nvSpPr>
          <p:cNvPr id="3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3CEABD7B-4197-4941-AB79-83E594B18143}"/>
              </a:ext>
            </a:extLst>
          </p:cNvPr>
          <p:cNvSpPr txBox="1"/>
          <p:nvPr/>
        </p:nvSpPr>
        <p:spPr>
          <a:xfrm>
            <a:off x="7636349" y="4150824"/>
            <a:ext cx="3033254" cy="7220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</a:t>
            </a:r>
          </a:p>
        </p:txBody>
      </p:sp>
      <p:sp>
        <p:nvSpPr>
          <p:cNvPr id="34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8B12E394-4C55-4AA9-BB75-F707C4560E7A}"/>
              </a:ext>
            </a:extLst>
          </p:cNvPr>
          <p:cNvSpPr txBox="1"/>
          <p:nvPr/>
        </p:nvSpPr>
        <p:spPr>
          <a:xfrm>
            <a:off x="7636349" y="5002480"/>
            <a:ext cx="3033254" cy="7220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0" grpId="0" animBg="1"/>
      <p:bldP spid="31" grpId="0" animBg="1"/>
      <p:bldP spid="32" grpId="0" animBg="1"/>
      <p:bldP spid="33" grpId="0" animBg="1"/>
      <p:bldP spid="3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23">
            <a:extLst>
              <a:ext uri="{FF2B5EF4-FFF2-40B4-BE49-F238E27FC236}">
                <a16:creationId xmlns:a16="http://schemas.microsoft.com/office/drawing/2014/main" id="{DAD4619B-CF23-46F9-B093-D78BA49F20F2}"/>
              </a:ext>
            </a:extLst>
          </p:cNvPr>
          <p:cNvSpPr/>
          <p:nvPr/>
        </p:nvSpPr>
        <p:spPr>
          <a:xfrm>
            <a:off x="7160575" y="0"/>
            <a:ext cx="5031426" cy="6858000"/>
          </a:xfrm>
          <a:custGeom>
            <a:avLst/>
            <a:gdLst>
              <a:gd name="connsiteX0" fmla="*/ 634 w 4115097"/>
              <a:gd name="connsiteY0" fmla="*/ 0 h 6858000"/>
              <a:gd name="connsiteX1" fmla="*/ 4115097 w 4115097"/>
              <a:gd name="connsiteY1" fmla="*/ 0 h 6858000"/>
              <a:gd name="connsiteX2" fmla="*/ 4115097 w 4115097"/>
              <a:gd name="connsiteY2" fmla="*/ 6858000 h 6858000"/>
              <a:gd name="connsiteX3" fmla="*/ 4112397 w 4115097"/>
              <a:gd name="connsiteY3" fmla="*/ 6858000 h 6858000"/>
              <a:gd name="connsiteX4" fmla="*/ 4056649 w 4115097"/>
              <a:gd name="connsiteY4" fmla="*/ 6811547 h 6858000"/>
              <a:gd name="connsiteX5" fmla="*/ 3632497 w 4115097"/>
              <a:gd name="connsiteY5" fmla="*/ 6121400 h 6858000"/>
              <a:gd name="connsiteX6" fmla="*/ 3048297 w 4115097"/>
              <a:gd name="connsiteY6" fmla="*/ 2540000 h 6858000"/>
              <a:gd name="connsiteX7" fmla="*/ 2260897 w 4115097"/>
              <a:gd name="connsiteY7" fmla="*/ 1054100 h 6858000"/>
              <a:gd name="connsiteX8" fmla="*/ 686097 w 4115097"/>
              <a:gd name="connsiteY8" fmla="*/ 736600 h 6858000"/>
              <a:gd name="connsiteX9" fmla="*/ 0 w 4115097"/>
              <a:gd name="connsiteY9" fmla="*/ 2728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15097" h="6858000">
                <a:moveTo>
                  <a:pt x="634" y="0"/>
                </a:moveTo>
                <a:lnTo>
                  <a:pt x="4115097" y="0"/>
                </a:lnTo>
                <a:lnTo>
                  <a:pt x="4115097" y="6858000"/>
                </a:lnTo>
                <a:lnTo>
                  <a:pt x="4112397" y="6858000"/>
                </a:lnTo>
                <a:lnTo>
                  <a:pt x="4056649" y="6811547"/>
                </a:lnTo>
                <a:cubicBezTo>
                  <a:pt x="3899718" y="6669617"/>
                  <a:pt x="3743622" y="6447367"/>
                  <a:pt x="3632497" y="6121400"/>
                </a:cubicBezTo>
                <a:cubicBezTo>
                  <a:pt x="3378497" y="5376333"/>
                  <a:pt x="3276897" y="3384550"/>
                  <a:pt x="3048297" y="2540000"/>
                </a:cubicBezTo>
                <a:cubicBezTo>
                  <a:pt x="2819697" y="1695450"/>
                  <a:pt x="2654597" y="1354667"/>
                  <a:pt x="2260897" y="1054100"/>
                </a:cubicBezTo>
                <a:cubicBezTo>
                  <a:pt x="1867197" y="753533"/>
                  <a:pt x="1043814" y="948267"/>
                  <a:pt x="686097" y="736600"/>
                </a:cubicBezTo>
                <a:cubicBezTo>
                  <a:pt x="417809" y="577850"/>
                  <a:pt x="25697" y="286941"/>
                  <a:pt x="0" y="27285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solidFill>
                <a:prstClr val="white"/>
              </a:solidFill>
              <a:cs typeface="+mn-ea"/>
              <a:sym typeface="+mn-lt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DE3E1B-2C7E-4D98-B08B-496871DD4D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DE3E1B-2C7E-4D98-B08B-496871DD4D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oup 22">
            <a:extLst>
              <a:ext uri="{FF2B5EF4-FFF2-40B4-BE49-F238E27FC236}">
                <a16:creationId xmlns:a16="http://schemas.microsoft.com/office/drawing/2014/main" id="{06765266-6934-4483-B6C9-71E71298336D}"/>
              </a:ext>
            </a:extLst>
          </p:cNvPr>
          <p:cNvGrpSpPr/>
          <p:nvPr/>
        </p:nvGrpSpPr>
        <p:grpSpPr>
          <a:xfrm>
            <a:off x="-1" y="1285876"/>
            <a:ext cx="8410576" cy="5572124"/>
            <a:chOff x="-1" y="733424"/>
            <a:chExt cx="8128001" cy="6124575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E5C6F2F-5AAB-4B51-B123-82269E77D0D3}"/>
                </a:ext>
              </a:extLst>
            </p:cNvPr>
            <p:cNvSpPr txBox="1"/>
            <p:nvPr/>
          </p:nvSpPr>
          <p:spPr>
            <a:xfrm flipV="1">
              <a:off x="258617" y="1849991"/>
              <a:ext cx="7869383" cy="5008007"/>
            </a:xfrm>
            <a:custGeom>
              <a:avLst/>
              <a:gdLst>
                <a:gd name="connsiteX0" fmla="*/ 0 w 6674304"/>
                <a:gd name="connsiteY0" fmla="*/ 0 h 5966838"/>
                <a:gd name="connsiteX1" fmla="*/ 6674304 w 6674304"/>
                <a:gd name="connsiteY1" fmla="*/ 0 h 5966838"/>
                <a:gd name="connsiteX2" fmla="*/ 6672463 w 6674304"/>
                <a:gd name="connsiteY2" fmla="*/ 3528 h 5966838"/>
                <a:gd name="connsiteX3" fmla="*/ 6142663 w 6674304"/>
                <a:gd name="connsiteY3" fmla="*/ 1686835 h 5966838"/>
                <a:gd name="connsiteX4" fmla="*/ 4132917 w 6674304"/>
                <a:gd name="connsiteY4" fmla="*/ 2753737 h 5966838"/>
                <a:gd name="connsiteX5" fmla="*/ 3289320 w 6674304"/>
                <a:gd name="connsiteY5" fmla="*/ 4862728 h 5966838"/>
                <a:gd name="connsiteX6" fmla="*/ 1763402 w 6674304"/>
                <a:gd name="connsiteY6" fmla="*/ 5954443 h 5966838"/>
                <a:gd name="connsiteX7" fmla="*/ 63803 w 6674304"/>
                <a:gd name="connsiteY7" fmla="*/ 5470616 h 5966838"/>
                <a:gd name="connsiteX8" fmla="*/ 0 w 6674304"/>
                <a:gd name="connsiteY8" fmla="*/ 5467195 h 5966838"/>
                <a:gd name="connsiteX0" fmla="*/ 0 w 6674304"/>
                <a:gd name="connsiteY0" fmla="*/ 0 h 5966838"/>
                <a:gd name="connsiteX1" fmla="*/ 6674304 w 6674304"/>
                <a:gd name="connsiteY1" fmla="*/ 0 h 5966838"/>
                <a:gd name="connsiteX2" fmla="*/ 6672463 w 6674304"/>
                <a:gd name="connsiteY2" fmla="*/ 3528 h 5966838"/>
                <a:gd name="connsiteX3" fmla="*/ 6142663 w 6674304"/>
                <a:gd name="connsiteY3" fmla="*/ 1686835 h 5966838"/>
                <a:gd name="connsiteX4" fmla="*/ 4132917 w 6674304"/>
                <a:gd name="connsiteY4" fmla="*/ 2753737 h 5966838"/>
                <a:gd name="connsiteX5" fmla="*/ 3289320 w 6674304"/>
                <a:gd name="connsiteY5" fmla="*/ 4862728 h 5966838"/>
                <a:gd name="connsiteX6" fmla="*/ 1763402 w 6674304"/>
                <a:gd name="connsiteY6" fmla="*/ 5954443 h 5966838"/>
                <a:gd name="connsiteX7" fmla="*/ 63803 w 6674304"/>
                <a:gd name="connsiteY7" fmla="*/ 5470616 h 5966838"/>
                <a:gd name="connsiteX8" fmla="*/ 0 w 6674304"/>
                <a:gd name="connsiteY8" fmla="*/ 5467195 h 5966838"/>
                <a:gd name="connsiteX9" fmla="*/ 0 w 6674304"/>
                <a:gd name="connsiteY9" fmla="*/ 0 h 5966838"/>
                <a:gd name="connsiteX0" fmla="*/ 0 w 6674304"/>
                <a:gd name="connsiteY0" fmla="*/ 0 h 5966838"/>
                <a:gd name="connsiteX1" fmla="*/ 6674304 w 6674304"/>
                <a:gd name="connsiteY1" fmla="*/ 0 h 5966838"/>
                <a:gd name="connsiteX2" fmla="*/ 6672463 w 6674304"/>
                <a:gd name="connsiteY2" fmla="*/ 3528 h 5966838"/>
                <a:gd name="connsiteX3" fmla="*/ 6142663 w 6674304"/>
                <a:gd name="connsiteY3" fmla="*/ 1686835 h 5966838"/>
                <a:gd name="connsiteX4" fmla="*/ 4132917 w 6674304"/>
                <a:gd name="connsiteY4" fmla="*/ 2753737 h 5966838"/>
                <a:gd name="connsiteX5" fmla="*/ 3289320 w 6674304"/>
                <a:gd name="connsiteY5" fmla="*/ 4862728 h 5966838"/>
                <a:gd name="connsiteX6" fmla="*/ 1763402 w 6674304"/>
                <a:gd name="connsiteY6" fmla="*/ 5954443 h 5966838"/>
                <a:gd name="connsiteX7" fmla="*/ 63803 w 6674304"/>
                <a:gd name="connsiteY7" fmla="*/ 5470616 h 5966838"/>
                <a:gd name="connsiteX8" fmla="*/ 0 w 6674304"/>
                <a:gd name="connsiteY8" fmla="*/ 5467195 h 5966838"/>
                <a:gd name="connsiteX9" fmla="*/ 0 w 6674304"/>
                <a:gd name="connsiteY9" fmla="*/ 0 h 5966838"/>
                <a:gd name="connsiteX0" fmla="*/ 0 w 6674304"/>
                <a:gd name="connsiteY0" fmla="*/ 0 h 5954452"/>
                <a:gd name="connsiteX1" fmla="*/ 6674304 w 6674304"/>
                <a:gd name="connsiteY1" fmla="*/ 0 h 5954452"/>
                <a:gd name="connsiteX2" fmla="*/ 6672463 w 6674304"/>
                <a:gd name="connsiteY2" fmla="*/ 3528 h 5954452"/>
                <a:gd name="connsiteX3" fmla="*/ 6142663 w 6674304"/>
                <a:gd name="connsiteY3" fmla="*/ 1686835 h 5954452"/>
                <a:gd name="connsiteX4" fmla="*/ 4132917 w 6674304"/>
                <a:gd name="connsiteY4" fmla="*/ 2753737 h 5954452"/>
                <a:gd name="connsiteX5" fmla="*/ 3289320 w 6674304"/>
                <a:gd name="connsiteY5" fmla="*/ 4862728 h 5954452"/>
                <a:gd name="connsiteX6" fmla="*/ 1763402 w 6674304"/>
                <a:gd name="connsiteY6" fmla="*/ 5954443 h 5954452"/>
                <a:gd name="connsiteX7" fmla="*/ 63803 w 6674304"/>
                <a:gd name="connsiteY7" fmla="*/ 5470616 h 5954452"/>
                <a:gd name="connsiteX8" fmla="*/ 0 w 6674304"/>
                <a:gd name="connsiteY8" fmla="*/ 5467195 h 5954452"/>
                <a:gd name="connsiteX9" fmla="*/ 0 w 6674304"/>
                <a:gd name="connsiteY9" fmla="*/ 0 h 5954452"/>
                <a:gd name="connsiteX0" fmla="*/ 0 w 6674304"/>
                <a:gd name="connsiteY0" fmla="*/ 0 h 5954443"/>
                <a:gd name="connsiteX1" fmla="*/ 6674304 w 6674304"/>
                <a:gd name="connsiteY1" fmla="*/ 0 h 5954443"/>
                <a:gd name="connsiteX2" fmla="*/ 6672463 w 6674304"/>
                <a:gd name="connsiteY2" fmla="*/ 3528 h 5954443"/>
                <a:gd name="connsiteX3" fmla="*/ 6142663 w 6674304"/>
                <a:gd name="connsiteY3" fmla="*/ 1686835 h 5954443"/>
                <a:gd name="connsiteX4" fmla="*/ 4132917 w 6674304"/>
                <a:gd name="connsiteY4" fmla="*/ 2753737 h 5954443"/>
                <a:gd name="connsiteX5" fmla="*/ 3289320 w 6674304"/>
                <a:gd name="connsiteY5" fmla="*/ 4862728 h 5954443"/>
                <a:gd name="connsiteX6" fmla="*/ 1763402 w 6674304"/>
                <a:gd name="connsiteY6" fmla="*/ 5954443 h 5954443"/>
                <a:gd name="connsiteX7" fmla="*/ 63803 w 6674304"/>
                <a:gd name="connsiteY7" fmla="*/ 5470616 h 5954443"/>
                <a:gd name="connsiteX8" fmla="*/ 0 w 6674304"/>
                <a:gd name="connsiteY8" fmla="*/ 5467195 h 5954443"/>
                <a:gd name="connsiteX9" fmla="*/ 0 w 6674304"/>
                <a:gd name="connsiteY9" fmla="*/ 0 h 5954443"/>
                <a:gd name="connsiteX0" fmla="*/ 0 w 6674304"/>
                <a:gd name="connsiteY0" fmla="*/ 0 h 5954443"/>
                <a:gd name="connsiteX1" fmla="*/ 6674304 w 6674304"/>
                <a:gd name="connsiteY1" fmla="*/ 0 h 5954443"/>
                <a:gd name="connsiteX2" fmla="*/ 6672463 w 6674304"/>
                <a:gd name="connsiteY2" fmla="*/ 3528 h 5954443"/>
                <a:gd name="connsiteX3" fmla="*/ 6142663 w 6674304"/>
                <a:gd name="connsiteY3" fmla="*/ 1686835 h 5954443"/>
                <a:gd name="connsiteX4" fmla="*/ 4132917 w 6674304"/>
                <a:gd name="connsiteY4" fmla="*/ 2753737 h 5954443"/>
                <a:gd name="connsiteX5" fmla="*/ 3289320 w 6674304"/>
                <a:gd name="connsiteY5" fmla="*/ 4862728 h 5954443"/>
                <a:gd name="connsiteX6" fmla="*/ 1763402 w 6674304"/>
                <a:gd name="connsiteY6" fmla="*/ 5954443 h 5954443"/>
                <a:gd name="connsiteX7" fmla="*/ 63803 w 6674304"/>
                <a:gd name="connsiteY7" fmla="*/ 5470616 h 5954443"/>
                <a:gd name="connsiteX8" fmla="*/ 0 w 6674304"/>
                <a:gd name="connsiteY8" fmla="*/ 5467195 h 5954443"/>
                <a:gd name="connsiteX9" fmla="*/ 0 w 6674304"/>
                <a:gd name="connsiteY9" fmla="*/ 0 h 5954443"/>
                <a:gd name="connsiteX0" fmla="*/ 0 w 6674304"/>
                <a:gd name="connsiteY0" fmla="*/ 0 h 5954443"/>
                <a:gd name="connsiteX1" fmla="*/ 6674304 w 6674304"/>
                <a:gd name="connsiteY1" fmla="*/ 0 h 5954443"/>
                <a:gd name="connsiteX2" fmla="*/ 6672463 w 6674304"/>
                <a:gd name="connsiteY2" fmla="*/ 3528 h 5954443"/>
                <a:gd name="connsiteX3" fmla="*/ 6142663 w 6674304"/>
                <a:gd name="connsiteY3" fmla="*/ 1686835 h 5954443"/>
                <a:gd name="connsiteX4" fmla="*/ 4132917 w 6674304"/>
                <a:gd name="connsiteY4" fmla="*/ 2753737 h 5954443"/>
                <a:gd name="connsiteX5" fmla="*/ 3323857 w 6674304"/>
                <a:gd name="connsiteY5" fmla="*/ 4880718 h 5954443"/>
                <a:gd name="connsiteX6" fmla="*/ 1763402 w 6674304"/>
                <a:gd name="connsiteY6" fmla="*/ 5954443 h 5954443"/>
                <a:gd name="connsiteX7" fmla="*/ 63803 w 6674304"/>
                <a:gd name="connsiteY7" fmla="*/ 5470616 h 5954443"/>
                <a:gd name="connsiteX8" fmla="*/ 0 w 6674304"/>
                <a:gd name="connsiteY8" fmla="*/ 5467195 h 5954443"/>
                <a:gd name="connsiteX9" fmla="*/ 0 w 6674304"/>
                <a:gd name="connsiteY9" fmla="*/ 0 h 5954443"/>
                <a:gd name="connsiteX0" fmla="*/ 0 w 6674304"/>
                <a:gd name="connsiteY0" fmla="*/ 0 h 5957613"/>
                <a:gd name="connsiteX1" fmla="*/ 6674304 w 6674304"/>
                <a:gd name="connsiteY1" fmla="*/ 0 h 5957613"/>
                <a:gd name="connsiteX2" fmla="*/ 6672463 w 6674304"/>
                <a:gd name="connsiteY2" fmla="*/ 3528 h 5957613"/>
                <a:gd name="connsiteX3" fmla="*/ 6142663 w 6674304"/>
                <a:gd name="connsiteY3" fmla="*/ 1686835 h 5957613"/>
                <a:gd name="connsiteX4" fmla="*/ 4132917 w 6674304"/>
                <a:gd name="connsiteY4" fmla="*/ 2753737 h 5957613"/>
                <a:gd name="connsiteX5" fmla="*/ 3323857 w 6674304"/>
                <a:gd name="connsiteY5" fmla="*/ 4880718 h 5957613"/>
                <a:gd name="connsiteX6" fmla="*/ 1763402 w 6674304"/>
                <a:gd name="connsiteY6" fmla="*/ 5954443 h 5957613"/>
                <a:gd name="connsiteX7" fmla="*/ 63803 w 6674304"/>
                <a:gd name="connsiteY7" fmla="*/ 5470616 h 5957613"/>
                <a:gd name="connsiteX8" fmla="*/ 0 w 6674304"/>
                <a:gd name="connsiteY8" fmla="*/ 5467195 h 5957613"/>
                <a:gd name="connsiteX9" fmla="*/ 0 w 6674304"/>
                <a:gd name="connsiteY9" fmla="*/ 0 h 5957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74304" h="5957613">
                  <a:moveTo>
                    <a:pt x="0" y="0"/>
                  </a:moveTo>
                  <a:lnTo>
                    <a:pt x="6674304" y="0"/>
                  </a:lnTo>
                  <a:lnTo>
                    <a:pt x="6672463" y="3528"/>
                  </a:lnTo>
                  <a:cubicBezTo>
                    <a:pt x="6485641" y="423111"/>
                    <a:pt x="6718539" y="1011007"/>
                    <a:pt x="6142663" y="1686835"/>
                  </a:cubicBezTo>
                  <a:cubicBezTo>
                    <a:pt x="5728792" y="2172540"/>
                    <a:pt x="4602718" y="2221423"/>
                    <a:pt x="4132917" y="2753737"/>
                  </a:cubicBezTo>
                  <a:cubicBezTo>
                    <a:pt x="3663116" y="3286051"/>
                    <a:pt x="3658337" y="4266313"/>
                    <a:pt x="3323857" y="4880718"/>
                  </a:cubicBezTo>
                  <a:cubicBezTo>
                    <a:pt x="2989377" y="5495123"/>
                    <a:pt x="2577285" y="5862125"/>
                    <a:pt x="1763402" y="5954443"/>
                  </a:cubicBezTo>
                  <a:cubicBezTo>
                    <a:pt x="1230133" y="6001788"/>
                    <a:pt x="551766" y="5503698"/>
                    <a:pt x="63803" y="5470616"/>
                  </a:cubicBezTo>
                  <a:lnTo>
                    <a:pt x="0" y="5467195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-457200" algn="ctr" defTabSz="914400" fontAlgn="auto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 kumimoji="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1"/>
              <a:endParaRPr lang="en-ID"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5CFD34D-2E17-4237-B606-5E78B0D13A5D}"/>
                </a:ext>
              </a:extLst>
            </p:cNvPr>
            <p:cNvSpPr txBox="1"/>
            <p:nvPr/>
          </p:nvSpPr>
          <p:spPr>
            <a:xfrm flipV="1">
              <a:off x="-1" y="733424"/>
              <a:ext cx="7362825" cy="6124575"/>
            </a:xfrm>
            <a:custGeom>
              <a:avLst/>
              <a:gdLst>
                <a:gd name="connsiteX0" fmla="*/ 0 w 6674304"/>
                <a:gd name="connsiteY0" fmla="*/ 0 h 5966838"/>
                <a:gd name="connsiteX1" fmla="*/ 6674304 w 6674304"/>
                <a:gd name="connsiteY1" fmla="*/ 0 h 5966838"/>
                <a:gd name="connsiteX2" fmla="*/ 6672463 w 6674304"/>
                <a:gd name="connsiteY2" fmla="*/ 3528 h 5966838"/>
                <a:gd name="connsiteX3" fmla="*/ 6142663 w 6674304"/>
                <a:gd name="connsiteY3" fmla="*/ 1686835 h 5966838"/>
                <a:gd name="connsiteX4" fmla="*/ 4132917 w 6674304"/>
                <a:gd name="connsiteY4" fmla="*/ 2753737 h 5966838"/>
                <a:gd name="connsiteX5" fmla="*/ 3289320 w 6674304"/>
                <a:gd name="connsiteY5" fmla="*/ 4862728 h 5966838"/>
                <a:gd name="connsiteX6" fmla="*/ 1763402 w 6674304"/>
                <a:gd name="connsiteY6" fmla="*/ 5954443 h 5966838"/>
                <a:gd name="connsiteX7" fmla="*/ 63803 w 6674304"/>
                <a:gd name="connsiteY7" fmla="*/ 5470616 h 5966838"/>
                <a:gd name="connsiteX8" fmla="*/ 0 w 6674304"/>
                <a:gd name="connsiteY8" fmla="*/ 5467195 h 5966838"/>
                <a:gd name="connsiteX0" fmla="*/ 0 w 6674304"/>
                <a:gd name="connsiteY0" fmla="*/ 0 h 5966838"/>
                <a:gd name="connsiteX1" fmla="*/ 6674304 w 6674304"/>
                <a:gd name="connsiteY1" fmla="*/ 0 h 5966838"/>
                <a:gd name="connsiteX2" fmla="*/ 6672463 w 6674304"/>
                <a:gd name="connsiteY2" fmla="*/ 3528 h 5966838"/>
                <a:gd name="connsiteX3" fmla="*/ 6142663 w 6674304"/>
                <a:gd name="connsiteY3" fmla="*/ 1686835 h 5966838"/>
                <a:gd name="connsiteX4" fmla="*/ 4132917 w 6674304"/>
                <a:gd name="connsiteY4" fmla="*/ 2753737 h 5966838"/>
                <a:gd name="connsiteX5" fmla="*/ 3289320 w 6674304"/>
                <a:gd name="connsiteY5" fmla="*/ 4862728 h 5966838"/>
                <a:gd name="connsiteX6" fmla="*/ 1763402 w 6674304"/>
                <a:gd name="connsiteY6" fmla="*/ 5954443 h 5966838"/>
                <a:gd name="connsiteX7" fmla="*/ 63803 w 6674304"/>
                <a:gd name="connsiteY7" fmla="*/ 5470616 h 5966838"/>
                <a:gd name="connsiteX8" fmla="*/ 0 w 6674304"/>
                <a:gd name="connsiteY8" fmla="*/ 5467195 h 5966838"/>
                <a:gd name="connsiteX9" fmla="*/ 0 w 6674304"/>
                <a:gd name="connsiteY9" fmla="*/ 0 h 5966838"/>
                <a:gd name="connsiteX0" fmla="*/ 0 w 6674304"/>
                <a:gd name="connsiteY0" fmla="*/ 0 h 5966838"/>
                <a:gd name="connsiteX1" fmla="*/ 6674304 w 6674304"/>
                <a:gd name="connsiteY1" fmla="*/ 0 h 5966838"/>
                <a:gd name="connsiteX2" fmla="*/ 6672463 w 6674304"/>
                <a:gd name="connsiteY2" fmla="*/ 3528 h 5966838"/>
                <a:gd name="connsiteX3" fmla="*/ 6142663 w 6674304"/>
                <a:gd name="connsiteY3" fmla="*/ 1686835 h 5966838"/>
                <a:gd name="connsiteX4" fmla="*/ 4132917 w 6674304"/>
                <a:gd name="connsiteY4" fmla="*/ 2753737 h 5966838"/>
                <a:gd name="connsiteX5" fmla="*/ 3289320 w 6674304"/>
                <a:gd name="connsiteY5" fmla="*/ 4862728 h 5966838"/>
                <a:gd name="connsiteX6" fmla="*/ 1763402 w 6674304"/>
                <a:gd name="connsiteY6" fmla="*/ 5954443 h 5966838"/>
                <a:gd name="connsiteX7" fmla="*/ 63803 w 6674304"/>
                <a:gd name="connsiteY7" fmla="*/ 5470616 h 5966838"/>
                <a:gd name="connsiteX8" fmla="*/ 0 w 6674304"/>
                <a:gd name="connsiteY8" fmla="*/ 5467195 h 5966838"/>
                <a:gd name="connsiteX9" fmla="*/ 0 w 6674304"/>
                <a:gd name="connsiteY9" fmla="*/ 0 h 5966838"/>
                <a:gd name="connsiteX0" fmla="*/ 0 w 6674304"/>
                <a:gd name="connsiteY0" fmla="*/ 0 h 5954452"/>
                <a:gd name="connsiteX1" fmla="*/ 6674304 w 6674304"/>
                <a:gd name="connsiteY1" fmla="*/ 0 h 5954452"/>
                <a:gd name="connsiteX2" fmla="*/ 6672463 w 6674304"/>
                <a:gd name="connsiteY2" fmla="*/ 3528 h 5954452"/>
                <a:gd name="connsiteX3" fmla="*/ 6142663 w 6674304"/>
                <a:gd name="connsiteY3" fmla="*/ 1686835 h 5954452"/>
                <a:gd name="connsiteX4" fmla="*/ 4132917 w 6674304"/>
                <a:gd name="connsiteY4" fmla="*/ 2753737 h 5954452"/>
                <a:gd name="connsiteX5" fmla="*/ 3289320 w 6674304"/>
                <a:gd name="connsiteY5" fmla="*/ 4862728 h 5954452"/>
                <a:gd name="connsiteX6" fmla="*/ 1763402 w 6674304"/>
                <a:gd name="connsiteY6" fmla="*/ 5954443 h 5954452"/>
                <a:gd name="connsiteX7" fmla="*/ 63803 w 6674304"/>
                <a:gd name="connsiteY7" fmla="*/ 5470616 h 5954452"/>
                <a:gd name="connsiteX8" fmla="*/ 0 w 6674304"/>
                <a:gd name="connsiteY8" fmla="*/ 5467195 h 5954452"/>
                <a:gd name="connsiteX9" fmla="*/ 0 w 6674304"/>
                <a:gd name="connsiteY9" fmla="*/ 0 h 5954452"/>
                <a:gd name="connsiteX0" fmla="*/ 0 w 6674304"/>
                <a:gd name="connsiteY0" fmla="*/ 0 h 5954443"/>
                <a:gd name="connsiteX1" fmla="*/ 6674304 w 6674304"/>
                <a:gd name="connsiteY1" fmla="*/ 0 h 5954443"/>
                <a:gd name="connsiteX2" fmla="*/ 6672463 w 6674304"/>
                <a:gd name="connsiteY2" fmla="*/ 3528 h 5954443"/>
                <a:gd name="connsiteX3" fmla="*/ 6142663 w 6674304"/>
                <a:gd name="connsiteY3" fmla="*/ 1686835 h 5954443"/>
                <a:gd name="connsiteX4" fmla="*/ 4132917 w 6674304"/>
                <a:gd name="connsiteY4" fmla="*/ 2753737 h 5954443"/>
                <a:gd name="connsiteX5" fmla="*/ 3289320 w 6674304"/>
                <a:gd name="connsiteY5" fmla="*/ 4862728 h 5954443"/>
                <a:gd name="connsiteX6" fmla="*/ 1763402 w 6674304"/>
                <a:gd name="connsiteY6" fmla="*/ 5954443 h 5954443"/>
                <a:gd name="connsiteX7" fmla="*/ 63803 w 6674304"/>
                <a:gd name="connsiteY7" fmla="*/ 5470616 h 5954443"/>
                <a:gd name="connsiteX8" fmla="*/ 0 w 6674304"/>
                <a:gd name="connsiteY8" fmla="*/ 5467195 h 5954443"/>
                <a:gd name="connsiteX9" fmla="*/ 0 w 6674304"/>
                <a:gd name="connsiteY9" fmla="*/ 0 h 5954443"/>
                <a:gd name="connsiteX0" fmla="*/ 0 w 6674304"/>
                <a:gd name="connsiteY0" fmla="*/ 0 h 5954443"/>
                <a:gd name="connsiteX1" fmla="*/ 6674304 w 6674304"/>
                <a:gd name="connsiteY1" fmla="*/ 0 h 5954443"/>
                <a:gd name="connsiteX2" fmla="*/ 6672463 w 6674304"/>
                <a:gd name="connsiteY2" fmla="*/ 3528 h 5954443"/>
                <a:gd name="connsiteX3" fmla="*/ 6142663 w 6674304"/>
                <a:gd name="connsiteY3" fmla="*/ 1686835 h 5954443"/>
                <a:gd name="connsiteX4" fmla="*/ 4132917 w 6674304"/>
                <a:gd name="connsiteY4" fmla="*/ 2753737 h 5954443"/>
                <a:gd name="connsiteX5" fmla="*/ 3289320 w 6674304"/>
                <a:gd name="connsiteY5" fmla="*/ 4862728 h 5954443"/>
                <a:gd name="connsiteX6" fmla="*/ 1763402 w 6674304"/>
                <a:gd name="connsiteY6" fmla="*/ 5954443 h 5954443"/>
                <a:gd name="connsiteX7" fmla="*/ 63803 w 6674304"/>
                <a:gd name="connsiteY7" fmla="*/ 5470616 h 5954443"/>
                <a:gd name="connsiteX8" fmla="*/ 0 w 6674304"/>
                <a:gd name="connsiteY8" fmla="*/ 5467195 h 5954443"/>
                <a:gd name="connsiteX9" fmla="*/ 0 w 6674304"/>
                <a:gd name="connsiteY9" fmla="*/ 0 h 5954443"/>
                <a:gd name="connsiteX0" fmla="*/ 0 w 6674304"/>
                <a:gd name="connsiteY0" fmla="*/ 0 h 5954443"/>
                <a:gd name="connsiteX1" fmla="*/ 6674304 w 6674304"/>
                <a:gd name="connsiteY1" fmla="*/ 0 h 5954443"/>
                <a:gd name="connsiteX2" fmla="*/ 6672463 w 6674304"/>
                <a:gd name="connsiteY2" fmla="*/ 3528 h 5954443"/>
                <a:gd name="connsiteX3" fmla="*/ 6142663 w 6674304"/>
                <a:gd name="connsiteY3" fmla="*/ 1686835 h 5954443"/>
                <a:gd name="connsiteX4" fmla="*/ 4132917 w 6674304"/>
                <a:gd name="connsiteY4" fmla="*/ 2753737 h 5954443"/>
                <a:gd name="connsiteX5" fmla="*/ 3323857 w 6674304"/>
                <a:gd name="connsiteY5" fmla="*/ 4880718 h 5954443"/>
                <a:gd name="connsiteX6" fmla="*/ 1763402 w 6674304"/>
                <a:gd name="connsiteY6" fmla="*/ 5954443 h 5954443"/>
                <a:gd name="connsiteX7" fmla="*/ 63803 w 6674304"/>
                <a:gd name="connsiteY7" fmla="*/ 5470616 h 5954443"/>
                <a:gd name="connsiteX8" fmla="*/ 0 w 6674304"/>
                <a:gd name="connsiteY8" fmla="*/ 5467195 h 5954443"/>
                <a:gd name="connsiteX9" fmla="*/ 0 w 6674304"/>
                <a:gd name="connsiteY9" fmla="*/ 0 h 5954443"/>
                <a:gd name="connsiteX0" fmla="*/ 0 w 6674304"/>
                <a:gd name="connsiteY0" fmla="*/ 0 h 5957613"/>
                <a:gd name="connsiteX1" fmla="*/ 6674304 w 6674304"/>
                <a:gd name="connsiteY1" fmla="*/ 0 h 5957613"/>
                <a:gd name="connsiteX2" fmla="*/ 6672463 w 6674304"/>
                <a:gd name="connsiteY2" fmla="*/ 3528 h 5957613"/>
                <a:gd name="connsiteX3" fmla="*/ 6142663 w 6674304"/>
                <a:gd name="connsiteY3" fmla="*/ 1686835 h 5957613"/>
                <a:gd name="connsiteX4" fmla="*/ 4132917 w 6674304"/>
                <a:gd name="connsiteY4" fmla="*/ 2753737 h 5957613"/>
                <a:gd name="connsiteX5" fmla="*/ 3323857 w 6674304"/>
                <a:gd name="connsiteY5" fmla="*/ 4880718 h 5957613"/>
                <a:gd name="connsiteX6" fmla="*/ 1763402 w 6674304"/>
                <a:gd name="connsiteY6" fmla="*/ 5954443 h 5957613"/>
                <a:gd name="connsiteX7" fmla="*/ 63803 w 6674304"/>
                <a:gd name="connsiteY7" fmla="*/ 5470616 h 5957613"/>
                <a:gd name="connsiteX8" fmla="*/ 0 w 6674304"/>
                <a:gd name="connsiteY8" fmla="*/ 5467195 h 5957613"/>
                <a:gd name="connsiteX9" fmla="*/ 0 w 6674304"/>
                <a:gd name="connsiteY9" fmla="*/ 0 h 5957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74304" h="5957613">
                  <a:moveTo>
                    <a:pt x="0" y="0"/>
                  </a:moveTo>
                  <a:lnTo>
                    <a:pt x="6674304" y="0"/>
                  </a:lnTo>
                  <a:lnTo>
                    <a:pt x="6672463" y="3528"/>
                  </a:lnTo>
                  <a:cubicBezTo>
                    <a:pt x="6485641" y="423111"/>
                    <a:pt x="6718539" y="1011007"/>
                    <a:pt x="6142663" y="1686835"/>
                  </a:cubicBezTo>
                  <a:cubicBezTo>
                    <a:pt x="5728792" y="2172540"/>
                    <a:pt x="4602718" y="2221423"/>
                    <a:pt x="4132917" y="2753737"/>
                  </a:cubicBezTo>
                  <a:cubicBezTo>
                    <a:pt x="3663116" y="3286051"/>
                    <a:pt x="3658337" y="4266313"/>
                    <a:pt x="3323857" y="4880718"/>
                  </a:cubicBezTo>
                  <a:cubicBezTo>
                    <a:pt x="2989377" y="5495123"/>
                    <a:pt x="2577285" y="5862125"/>
                    <a:pt x="1763402" y="5954443"/>
                  </a:cubicBezTo>
                  <a:cubicBezTo>
                    <a:pt x="1230133" y="6001788"/>
                    <a:pt x="551766" y="5503698"/>
                    <a:pt x="63803" y="5470616"/>
                  </a:cubicBezTo>
                  <a:lnTo>
                    <a:pt x="0" y="5467195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-457200" algn="ctr" defTabSz="914400" fontAlgn="auto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 kumimoji="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1"/>
              <a:endParaRPr lang="en-ID">
                <a:latin typeface="+mn-lt"/>
                <a:cs typeface="+mn-ea"/>
                <a:sym typeface="+mn-lt"/>
              </a:endParaRPr>
            </a:p>
          </p:txBody>
        </p: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DBD3D68A-B608-484D-AA32-1F77DBAFF8F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5257" y="913804"/>
            <a:ext cx="5572124" cy="5572124"/>
          </a:xfrm>
          <a:prstGeom prst="rect">
            <a:avLst/>
          </a:prstGeom>
        </p:spPr>
      </p:pic>
      <p:grpSp>
        <p:nvGrpSpPr>
          <p:cNvPr id="19" name="Group 184">
            <a:extLst>
              <a:ext uri="{FF2B5EF4-FFF2-40B4-BE49-F238E27FC236}">
                <a16:creationId xmlns:a16="http://schemas.microsoft.com/office/drawing/2014/main" id="{63951B4B-4AC9-4B0C-B94B-9089F5CF49ED}"/>
              </a:ext>
            </a:extLst>
          </p:cNvPr>
          <p:cNvGrpSpPr/>
          <p:nvPr/>
        </p:nvGrpSpPr>
        <p:grpSpPr>
          <a:xfrm>
            <a:off x="10138870" y="530121"/>
            <a:ext cx="1651379" cy="1320136"/>
            <a:chOff x="10053740" y="592613"/>
            <a:chExt cx="1072349" cy="857252"/>
          </a:xfrm>
          <a:solidFill>
            <a:srgbClr val="FAD34D"/>
          </a:solidFill>
        </p:grpSpPr>
        <p:sp>
          <p:nvSpPr>
            <p:cNvPr id="20" name="Freeform: Shape 182">
              <a:extLst>
                <a:ext uri="{FF2B5EF4-FFF2-40B4-BE49-F238E27FC236}">
                  <a16:creationId xmlns:a16="http://schemas.microsoft.com/office/drawing/2014/main" id="{817F004C-63B9-4C0C-BB24-945784DC619C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-4572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1" name="Freeform: Shape 183">
              <a:extLst>
                <a:ext uri="{FF2B5EF4-FFF2-40B4-BE49-F238E27FC236}">
                  <a16:creationId xmlns:a16="http://schemas.microsoft.com/office/drawing/2014/main" id="{D1B50422-2AF0-450D-B748-CF5D03E26400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-4572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433E9541-44FC-4584-BD96-77CCFD4C5B9F}"/>
              </a:ext>
            </a:extLst>
          </p:cNvPr>
          <p:cNvGrpSpPr/>
          <p:nvPr/>
        </p:nvGrpSpPr>
        <p:grpSpPr>
          <a:xfrm>
            <a:off x="526888" y="360738"/>
            <a:ext cx="2582174" cy="500937"/>
            <a:chOff x="423052" y="305730"/>
            <a:chExt cx="2582174" cy="500937"/>
          </a:xfrm>
          <a:gradFill>
            <a:gsLst>
              <a:gs pos="0">
                <a:srgbClr val="1669E0"/>
              </a:gs>
              <a:gs pos="100000">
                <a:srgbClr val="37A6FF"/>
              </a:gs>
            </a:gsLst>
            <a:lin ang="5400012" scaled="0"/>
          </a:gradFill>
        </p:grpSpPr>
        <p:sp>
          <p:nvSpPr>
            <p:cNvPr id="24" name="Rectangle: Rounded Corners 34">
              <a:extLst>
                <a:ext uri="{FF2B5EF4-FFF2-40B4-BE49-F238E27FC236}">
                  <a16:creationId xmlns:a16="http://schemas.microsoft.com/office/drawing/2014/main" id="{1A928EDC-9D71-4B3D-9FFF-5D906E652914}"/>
                </a:ext>
              </a:extLst>
            </p:cNvPr>
            <p:cNvSpPr/>
            <p:nvPr/>
          </p:nvSpPr>
          <p:spPr>
            <a:xfrm>
              <a:off x="815816" y="305730"/>
              <a:ext cx="1830269" cy="50093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r>
                <a:rPr lang="en-US">
                  <a:solidFill>
                    <a:prstClr val="white"/>
                  </a:solidFill>
                  <a:cs typeface="+mn-ea"/>
                  <a:sym typeface="+mn-lt"/>
                </a:rPr>
                <a:t> </a:t>
              </a:r>
              <a:endParaRPr lang="en-US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6" name="iṩļïḓè">
              <a:extLst>
                <a:ext uri="{FF2B5EF4-FFF2-40B4-BE49-F238E27FC236}">
                  <a16:creationId xmlns:a16="http://schemas.microsoft.com/office/drawing/2014/main" id="{1F665894-B0A9-4118-80B4-962DDAB04A64}"/>
                </a:ext>
              </a:extLst>
            </p:cNvPr>
            <p:cNvSpPr txBox="1"/>
            <p:nvPr/>
          </p:nvSpPr>
          <p:spPr bwMode="auto">
            <a:xfrm>
              <a:off x="943549" y="407694"/>
              <a:ext cx="1534794" cy="33865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solidFill>
                    <a:prstClr val="white"/>
                  </a:solidFill>
                  <a:latin typeface="Calibri" panose="020F05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dist" defTabSz="914400"/>
              <a:r>
                <a:rPr lang="en-US" altLang="zh-CN" sz="1400" dirty="0">
                  <a:solidFill>
                    <a:srgbClr val="0F65B4"/>
                  </a:solidFill>
                  <a:cs typeface="+mn-ea"/>
                  <a:sym typeface="+mn-lt"/>
                </a:rPr>
                <a:t>Jpppt.com</a:t>
              </a:r>
            </a:p>
          </p:txBody>
        </p:sp>
        <p:sp>
          <p:nvSpPr>
            <p:cNvPr id="27" name="椭圆 26">
              <a:extLst>
                <a:ext uri="{FF2B5EF4-FFF2-40B4-BE49-F238E27FC236}">
                  <a16:creationId xmlns:a16="http://schemas.microsoft.com/office/drawing/2014/main" id="{5C9C529A-A724-4AB3-AE18-94500FA655DA}"/>
                </a:ext>
              </a:extLst>
            </p:cNvPr>
            <p:cNvSpPr/>
            <p:nvPr/>
          </p:nvSpPr>
          <p:spPr>
            <a:xfrm>
              <a:off x="423052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8" name="椭圆 27">
              <a:extLst>
                <a:ext uri="{FF2B5EF4-FFF2-40B4-BE49-F238E27FC236}">
                  <a16:creationId xmlns:a16="http://schemas.microsoft.com/office/drawing/2014/main" id="{A38405E6-E380-4C67-86A5-6F8E56B82BC6}"/>
                </a:ext>
              </a:extLst>
            </p:cNvPr>
            <p:cNvSpPr/>
            <p:nvPr/>
          </p:nvSpPr>
          <p:spPr>
            <a:xfrm>
              <a:off x="2800384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  <p:sp>
        <p:nvSpPr>
          <p:cNvPr id="29" name="Google Shape;732;p24">
            <a:extLst>
              <a:ext uri="{FF2B5EF4-FFF2-40B4-BE49-F238E27FC236}">
                <a16:creationId xmlns:a16="http://schemas.microsoft.com/office/drawing/2014/main" id="{358C043A-AD87-4CD0-9946-1E8AF3B6DA27}"/>
              </a:ext>
            </a:extLst>
          </p:cNvPr>
          <p:cNvSpPr/>
          <p:nvPr/>
        </p:nvSpPr>
        <p:spPr>
          <a:xfrm>
            <a:off x="974492" y="2082562"/>
            <a:ext cx="2739600" cy="1066000"/>
          </a:xfrm>
          <a:prstGeom prst="roundRect">
            <a:avLst>
              <a:gd name="adj" fmla="val 12715"/>
            </a:avLst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cs typeface="+mn-ea"/>
              <a:sym typeface="+mn-lt"/>
            </a:endParaRPr>
          </a:p>
        </p:txBody>
      </p:sp>
      <p:sp>
        <p:nvSpPr>
          <p:cNvPr id="30" name="Google Shape;733;p24">
            <a:extLst>
              <a:ext uri="{FF2B5EF4-FFF2-40B4-BE49-F238E27FC236}">
                <a16:creationId xmlns:a16="http://schemas.microsoft.com/office/drawing/2014/main" id="{522E91E7-E399-4FE2-BE69-02B0794E227E}"/>
              </a:ext>
            </a:extLst>
          </p:cNvPr>
          <p:cNvSpPr txBox="1"/>
          <p:nvPr/>
        </p:nvSpPr>
        <p:spPr>
          <a:xfrm>
            <a:off x="1075476" y="2150429"/>
            <a:ext cx="2532000" cy="3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45%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1" name="Google Shape;735;p24">
            <a:extLst>
              <a:ext uri="{FF2B5EF4-FFF2-40B4-BE49-F238E27FC236}">
                <a16:creationId xmlns:a16="http://schemas.microsoft.com/office/drawing/2014/main" id="{ED7F3B6A-B6E1-4C60-8E1B-A909639344E1}"/>
              </a:ext>
            </a:extLst>
          </p:cNvPr>
          <p:cNvSpPr/>
          <p:nvPr/>
        </p:nvSpPr>
        <p:spPr>
          <a:xfrm>
            <a:off x="974492" y="4824995"/>
            <a:ext cx="2739600" cy="1066000"/>
          </a:xfrm>
          <a:prstGeom prst="roundRect">
            <a:avLst>
              <a:gd name="adj" fmla="val 12715"/>
            </a:avLst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cs typeface="+mn-ea"/>
              <a:sym typeface="+mn-lt"/>
            </a:endParaRPr>
          </a:p>
        </p:txBody>
      </p:sp>
      <p:sp>
        <p:nvSpPr>
          <p:cNvPr id="32" name="Google Shape;736;p24">
            <a:extLst>
              <a:ext uri="{FF2B5EF4-FFF2-40B4-BE49-F238E27FC236}">
                <a16:creationId xmlns:a16="http://schemas.microsoft.com/office/drawing/2014/main" id="{FE8A228A-6FE9-48B5-8DD3-F4F1630CD177}"/>
              </a:ext>
            </a:extLst>
          </p:cNvPr>
          <p:cNvSpPr txBox="1"/>
          <p:nvPr/>
        </p:nvSpPr>
        <p:spPr>
          <a:xfrm>
            <a:off x="1072709" y="4895115"/>
            <a:ext cx="2532000" cy="3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35%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4" name="Google Shape;738;p24">
            <a:extLst>
              <a:ext uri="{FF2B5EF4-FFF2-40B4-BE49-F238E27FC236}">
                <a16:creationId xmlns:a16="http://schemas.microsoft.com/office/drawing/2014/main" id="{4A98EE52-21B6-497E-B919-6A98A1A597BF}"/>
              </a:ext>
            </a:extLst>
          </p:cNvPr>
          <p:cNvSpPr/>
          <p:nvPr/>
        </p:nvSpPr>
        <p:spPr>
          <a:xfrm>
            <a:off x="974492" y="3453778"/>
            <a:ext cx="2739600" cy="1066000"/>
          </a:xfrm>
          <a:prstGeom prst="roundRect">
            <a:avLst>
              <a:gd name="adj" fmla="val 12715"/>
            </a:avLst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cs typeface="+mn-ea"/>
              <a:sym typeface="+mn-lt"/>
            </a:endParaRPr>
          </a:p>
        </p:txBody>
      </p:sp>
      <p:sp>
        <p:nvSpPr>
          <p:cNvPr id="35" name="Google Shape;739;p24">
            <a:extLst>
              <a:ext uri="{FF2B5EF4-FFF2-40B4-BE49-F238E27FC236}">
                <a16:creationId xmlns:a16="http://schemas.microsoft.com/office/drawing/2014/main" id="{47FC7E65-FE74-4031-9B92-7340226778F1}"/>
              </a:ext>
            </a:extLst>
          </p:cNvPr>
          <p:cNvSpPr txBox="1"/>
          <p:nvPr/>
        </p:nvSpPr>
        <p:spPr>
          <a:xfrm>
            <a:off x="1078242" y="3518110"/>
            <a:ext cx="2532000" cy="3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+mn-ea"/>
                <a:sym typeface="+mn-lt"/>
              </a:rPr>
              <a:t>40%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3B36CC57-D115-49D6-AF97-DB45DDFAD2D5}"/>
              </a:ext>
            </a:extLst>
          </p:cNvPr>
          <p:cNvSpPr txBox="1"/>
          <p:nvPr/>
        </p:nvSpPr>
        <p:spPr>
          <a:xfrm>
            <a:off x="1249494" y="2495734"/>
            <a:ext cx="2174877" cy="4562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v="urn:schemas-microsoft-com:vml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050" kern="0" dirty="0">
                <a:solidFill>
                  <a:schemeClr val="bg1"/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050" kern="0" dirty="0">
                <a:solidFill>
                  <a:schemeClr val="bg1"/>
                </a:solidFill>
                <a:cs typeface="+mn-ea"/>
                <a:sym typeface="+mn-lt"/>
              </a:rPr>
              <a:t>,</a:t>
            </a:r>
            <a:r>
              <a:rPr lang="en-US" altLang="zh-CN" sz="1050" kern="0" dirty="0">
                <a:solidFill>
                  <a:schemeClr val="bg1"/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3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8D1F6EF7-C87C-4561-925B-7A5230CACE61}"/>
              </a:ext>
            </a:extLst>
          </p:cNvPr>
          <p:cNvSpPr txBox="1"/>
          <p:nvPr/>
        </p:nvSpPr>
        <p:spPr>
          <a:xfrm>
            <a:off x="1249493" y="3849047"/>
            <a:ext cx="2174877" cy="4562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v="urn:schemas-microsoft-com:vml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050" kern="0" dirty="0">
                <a:solidFill>
                  <a:schemeClr val="bg1"/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050" kern="0" dirty="0">
                <a:solidFill>
                  <a:schemeClr val="bg1"/>
                </a:solidFill>
                <a:cs typeface="+mn-ea"/>
                <a:sym typeface="+mn-lt"/>
              </a:rPr>
              <a:t>,</a:t>
            </a:r>
            <a:r>
              <a:rPr lang="en-US" altLang="zh-CN" sz="1050" kern="0" dirty="0">
                <a:solidFill>
                  <a:schemeClr val="bg1"/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3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2ED654AF-35BF-4427-AE7A-CC7B300D3547}"/>
              </a:ext>
            </a:extLst>
          </p:cNvPr>
          <p:cNvSpPr txBox="1"/>
          <p:nvPr/>
        </p:nvSpPr>
        <p:spPr>
          <a:xfrm>
            <a:off x="1249492" y="5282481"/>
            <a:ext cx="2174877" cy="4562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v="urn:schemas-microsoft-com:vml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050" kern="0" dirty="0">
                <a:solidFill>
                  <a:schemeClr val="bg1"/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050" kern="0" dirty="0">
                <a:solidFill>
                  <a:schemeClr val="bg1"/>
                </a:solidFill>
                <a:cs typeface="+mn-ea"/>
                <a:sym typeface="+mn-lt"/>
              </a:rPr>
              <a:t>,</a:t>
            </a:r>
            <a:r>
              <a:rPr lang="en-US" altLang="zh-CN" sz="1050" kern="0" dirty="0">
                <a:solidFill>
                  <a:schemeClr val="bg1"/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39" name="Google Shape;732;p24">
            <a:extLst>
              <a:ext uri="{FF2B5EF4-FFF2-40B4-BE49-F238E27FC236}">
                <a16:creationId xmlns:a16="http://schemas.microsoft.com/office/drawing/2014/main" id="{F8499894-ADAC-4997-BC72-1C866D84A03A}"/>
              </a:ext>
            </a:extLst>
          </p:cNvPr>
          <p:cNvSpPr/>
          <p:nvPr/>
        </p:nvSpPr>
        <p:spPr>
          <a:xfrm>
            <a:off x="4034129" y="2082562"/>
            <a:ext cx="2739600" cy="1066000"/>
          </a:xfrm>
          <a:prstGeom prst="roundRect">
            <a:avLst>
              <a:gd name="adj" fmla="val 12715"/>
            </a:avLst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bg1">
                  <a:lumMod val="6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0" name="Google Shape;733;p24">
            <a:extLst>
              <a:ext uri="{FF2B5EF4-FFF2-40B4-BE49-F238E27FC236}">
                <a16:creationId xmlns:a16="http://schemas.microsoft.com/office/drawing/2014/main" id="{7C6D1E82-A33F-464D-A1B1-076AD98D9C9D}"/>
              </a:ext>
            </a:extLst>
          </p:cNvPr>
          <p:cNvSpPr txBox="1"/>
          <p:nvPr/>
        </p:nvSpPr>
        <p:spPr>
          <a:xfrm>
            <a:off x="4135113" y="2150429"/>
            <a:ext cx="2532000" cy="3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24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45%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1" name="Google Shape;735;p24">
            <a:extLst>
              <a:ext uri="{FF2B5EF4-FFF2-40B4-BE49-F238E27FC236}">
                <a16:creationId xmlns:a16="http://schemas.microsoft.com/office/drawing/2014/main" id="{987A1A32-EEB3-496F-AF7C-D12D0DC116F8}"/>
              </a:ext>
            </a:extLst>
          </p:cNvPr>
          <p:cNvSpPr/>
          <p:nvPr/>
        </p:nvSpPr>
        <p:spPr>
          <a:xfrm>
            <a:off x="4034129" y="4824995"/>
            <a:ext cx="2739600" cy="1066000"/>
          </a:xfrm>
          <a:prstGeom prst="roundRect">
            <a:avLst>
              <a:gd name="adj" fmla="val 12715"/>
            </a:avLst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bg1">
                  <a:lumMod val="6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2" name="Google Shape;736;p24">
            <a:extLst>
              <a:ext uri="{FF2B5EF4-FFF2-40B4-BE49-F238E27FC236}">
                <a16:creationId xmlns:a16="http://schemas.microsoft.com/office/drawing/2014/main" id="{9FDEDEF2-0E7B-4414-9A25-313EFBCFE876}"/>
              </a:ext>
            </a:extLst>
          </p:cNvPr>
          <p:cNvSpPr txBox="1"/>
          <p:nvPr/>
        </p:nvSpPr>
        <p:spPr>
          <a:xfrm>
            <a:off x="4132346" y="4895115"/>
            <a:ext cx="2532000" cy="3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24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35%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3" name="Google Shape;738;p24">
            <a:extLst>
              <a:ext uri="{FF2B5EF4-FFF2-40B4-BE49-F238E27FC236}">
                <a16:creationId xmlns:a16="http://schemas.microsoft.com/office/drawing/2014/main" id="{523C134B-B7BB-40E0-94CD-31359ABABBF8}"/>
              </a:ext>
            </a:extLst>
          </p:cNvPr>
          <p:cNvSpPr/>
          <p:nvPr/>
        </p:nvSpPr>
        <p:spPr>
          <a:xfrm>
            <a:off x="4034129" y="3453778"/>
            <a:ext cx="2739600" cy="1066000"/>
          </a:xfrm>
          <a:prstGeom prst="roundRect">
            <a:avLst>
              <a:gd name="adj" fmla="val 12715"/>
            </a:avLst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bg1">
                  <a:lumMod val="6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4" name="Google Shape;739;p24">
            <a:extLst>
              <a:ext uri="{FF2B5EF4-FFF2-40B4-BE49-F238E27FC236}">
                <a16:creationId xmlns:a16="http://schemas.microsoft.com/office/drawing/2014/main" id="{A45BD1E8-76DE-4B3A-988B-E8F17E6F6936}"/>
              </a:ext>
            </a:extLst>
          </p:cNvPr>
          <p:cNvSpPr txBox="1"/>
          <p:nvPr/>
        </p:nvSpPr>
        <p:spPr>
          <a:xfrm>
            <a:off x="4137879" y="3518110"/>
            <a:ext cx="2532000" cy="3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2400" b="0" i="0" u="none" strike="noStrike" kern="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40%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5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761D9373-DB1C-4EF8-BAED-E8318FEE30C8}"/>
              </a:ext>
            </a:extLst>
          </p:cNvPr>
          <p:cNvSpPr txBox="1"/>
          <p:nvPr/>
        </p:nvSpPr>
        <p:spPr>
          <a:xfrm>
            <a:off x="4309131" y="2495734"/>
            <a:ext cx="2174877" cy="4562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v="urn:schemas-microsoft-com:vml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4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0846A09A-9295-4F73-9E20-876A6610813D}"/>
              </a:ext>
            </a:extLst>
          </p:cNvPr>
          <p:cNvSpPr txBox="1"/>
          <p:nvPr/>
        </p:nvSpPr>
        <p:spPr>
          <a:xfrm>
            <a:off x="4309130" y="3849047"/>
            <a:ext cx="2174877" cy="4562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v="urn:schemas-microsoft-com:vml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4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7DFF67A0-AF6E-4EF2-BBB7-B9B5EC5B1AA6}"/>
              </a:ext>
            </a:extLst>
          </p:cNvPr>
          <p:cNvSpPr txBox="1"/>
          <p:nvPr/>
        </p:nvSpPr>
        <p:spPr>
          <a:xfrm>
            <a:off x="4309129" y="5282481"/>
            <a:ext cx="2174877" cy="4562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p14="http://schemas.microsoft.com/office/powerpoint/2010/main" xmlns:a14="http://schemas.microsoft.com/office/drawing/2010/main" xmlns:v="urn:schemas-microsoft-com:vml" xmlns:mc="http://schemas.openxmlformats.org/markup-compatibility/2006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07865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v="urn:schemas-microsoft-com:vml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 animBg="1"/>
      <p:bldP spid="38" grpId="0" animBg="1"/>
      <p:bldP spid="45" grpId="0" animBg="1"/>
      <p:bldP spid="46" grpId="0" animBg="1"/>
      <p:bldP spid="4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C4335FAC-FD00-40C5-A6D8-206FEC2616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34ABA11-9DA7-4A30-B756-B4CDCA30681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4291" y="821802"/>
            <a:ext cx="5932025" cy="5932025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E20E13C6-DA20-4F75-87DC-6765B3CBCC1B}"/>
              </a:ext>
            </a:extLst>
          </p:cNvPr>
          <p:cNvSpPr txBox="1"/>
          <p:nvPr/>
        </p:nvSpPr>
        <p:spPr>
          <a:xfrm>
            <a:off x="1214548" y="3500829"/>
            <a:ext cx="399405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6000" dirty="0">
                <a:solidFill>
                  <a:srgbClr val="0D3787"/>
                </a:solidFill>
                <a:cs typeface="+mn-ea"/>
                <a:sym typeface="+mn-lt"/>
              </a:rPr>
              <a:t>Part six</a:t>
            </a:r>
            <a:endParaRPr lang="zh-CN" altLang="en-US" sz="6000" dirty="0"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C7176937-2DCB-42A7-B005-E35BE77C9737}"/>
              </a:ext>
            </a:extLst>
          </p:cNvPr>
          <p:cNvSpPr txBox="1"/>
          <p:nvPr/>
        </p:nvSpPr>
        <p:spPr>
          <a:xfrm>
            <a:off x="1499049" y="4564873"/>
            <a:ext cx="2295615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rgbClr val="6C79BA"/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rgbClr val="6C79BA"/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rgbClr val="6C79BA"/>
                </a:solidFill>
                <a:cs typeface="+mn-ea"/>
                <a:sym typeface="+mn-lt"/>
              </a:rPr>
              <a:t> Synergistically utilize technically sound</a:t>
            </a:r>
          </a:p>
        </p:txBody>
      </p:sp>
      <p:sp>
        <p:nvSpPr>
          <p:cNvPr id="10" name="îṧ1ïḋé">
            <a:extLst>
              <a:ext uri="{FF2B5EF4-FFF2-40B4-BE49-F238E27FC236}">
                <a16:creationId xmlns:a16="http://schemas.microsoft.com/office/drawing/2014/main" id="{B5AA5A13-C86E-4C8D-892A-E7CB32ABCC28}"/>
              </a:ext>
            </a:extLst>
          </p:cNvPr>
          <p:cNvSpPr/>
          <p:nvPr/>
        </p:nvSpPr>
        <p:spPr>
          <a:xfrm>
            <a:off x="6290047" y="1778603"/>
            <a:ext cx="2001014" cy="3693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dist" defTabSz="914400"/>
            <a:r>
              <a:rPr lang="en-US" altLang="zh-CN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11" name="îṧ1ïḋé">
            <a:extLst>
              <a:ext uri="{FF2B5EF4-FFF2-40B4-BE49-F238E27FC236}">
                <a16:creationId xmlns:a16="http://schemas.microsoft.com/office/drawing/2014/main" id="{E2B097BA-B194-42C3-945F-386A7AFB144D}"/>
              </a:ext>
            </a:extLst>
          </p:cNvPr>
          <p:cNvSpPr/>
          <p:nvPr/>
        </p:nvSpPr>
        <p:spPr>
          <a:xfrm>
            <a:off x="669362" y="5894083"/>
            <a:ext cx="1402506" cy="369332"/>
          </a:xfrm>
          <a:prstGeom prst="roundRect">
            <a:avLst>
              <a:gd name="adj" fmla="val 50000"/>
            </a:avLst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dist" defTabSz="914400"/>
            <a:r>
              <a:rPr lang="en-US" altLang="zh-CN" sz="1050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17" name="Google Shape;537;p25">
            <a:extLst>
              <a:ext uri="{FF2B5EF4-FFF2-40B4-BE49-F238E27FC236}">
                <a16:creationId xmlns:a16="http://schemas.microsoft.com/office/drawing/2014/main" id="{1B5B09E6-268C-4B46-B540-347AB4A2DA78}"/>
              </a:ext>
            </a:extLst>
          </p:cNvPr>
          <p:cNvSpPr/>
          <p:nvPr/>
        </p:nvSpPr>
        <p:spPr>
          <a:xfrm rot="9266724">
            <a:off x="1040517" y="3729707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18" name="Google Shape;537;p25">
            <a:extLst>
              <a:ext uri="{FF2B5EF4-FFF2-40B4-BE49-F238E27FC236}">
                <a16:creationId xmlns:a16="http://schemas.microsoft.com/office/drawing/2014/main" id="{64B96D6A-0797-43A8-8899-A198C70273FF}"/>
              </a:ext>
            </a:extLst>
          </p:cNvPr>
          <p:cNvSpPr/>
          <p:nvPr/>
        </p:nvSpPr>
        <p:spPr>
          <a:xfrm rot="9266724">
            <a:off x="1040518" y="4129346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19" name="Google Shape;537;p25">
            <a:extLst>
              <a:ext uri="{FF2B5EF4-FFF2-40B4-BE49-F238E27FC236}">
                <a16:creationId xmlns:a16="http://schemas.microsoft.com/office/drawing/2014/main" id="{ED1E0558-0E69-4E53-AA22-626E687EFDF4}"/>
              </a:ext>
            </a:extLst>
          </p:cNvPr>
          <p:cNvSpPr/>
          <p:nvPr/>
        </p:nvSpPr>
        <p:spPr>
          <a:xfrm rot="9266724">
            <a:off x="1035455" y="4497491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1E3B8DD1-2F92-4F83-8407-FDB8D761047C}"/>
              </a:ext>
            </a:extLst>
          </p:cNvPr>
          <p:cNvGrpSpPr/>
          <p:nvPr/>
        </p:nvGrpSpPr>
        <p:grpSpPr>
          <a:xfrm rot="5400000">
            <a:off x="2021183" y="1062538"/>
            <a:ext cx="101370" cy="1330760"/>
            <a:chOff x="508216" y="2820579"/>
            <a:chExt cx="196770" cy="2583143"/>
          </a:xfrm>
          <a:solidFill>
            <a:srgbClr val="6C79BA"/>
          </a:solidFill>
        </p:grpSpPr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6DBCC032-C228-4F00-8BC9-6ABB576FCEF8}"/>
                </a:ext>
              </a:extLst>
            </p:cNvPr>
            <p:cNvSpPr/>
            <p:nvPr/>
          </p:nvSpPr>
          <p:spPr>
            <a:xfrm>
              <a:off x="508217" y="2820579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22" name="直接连接符 21">
              <a:extLst>
                <a:ext uri="{FF2B5EF4-FFF2-40B4-BE49-F238E27FC236}">
                  <a16:creationId xmlns:a16="http://schemas.microsoft.com/office/drawing/2014/main" id="{E4D16014-6217-45B2-BCF4-4920A867A4E0}"/>
                </a:ext>
              </a:extLst>
            </p:cNvPr>
            <p:cNvCxnSpPr/>
            <p:nvPr/>
          </p:nvCxnSpPr>
          <p:spPr>
            <a:xfrm>
              <a:off x="606601" y="3222594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C1AF9D28-6155-4F6A-B7ED-1E6CEAA00082}"/>
                </a:ext>
              </a:extLst>
            </p:cNvPr>
            <p:cNvSpPr/>
            <p:nvPr/>
          </p:nvSpPr>
          <p:spPr>
            <a:xfrm>
              <a:off x="508216" y="4013766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24" name="直接连接符 23">
              <a:extLst>
                <a:ext uri="{FF2B5EF4-FFF2-40B4-BE49-F238E27FC236}">
                  <a16:creationId xmlns:a16="http://schemas.microsoft.com/office/drawing/2014/main" id="{E8474D1B-8FBF-46CF-A281-929109FC8004}"/>
                </a:ext>
              </a:extLst>
            </p:cNvPr>
            <p:cNvCxnSpPr/>
            <p:nvPr/>
          </p:nvCxnSpPr>
          <p:spPr>
            <a:xfrm>
              <a:off x="606600" y="4415781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椭圆 24">
              <a:extLst>
                <a:ext uri="{FF2B5EF4-FFF2-40B4-BE49-F238E27FC236}">
                  <a16:creationId xmlns:a16="http://schemas.microsoft.com/office/drawing/2014/main" id="{26D179B6-2BD4-4139-BD98-D13AAE8269DB}"/>
                </a:ext>
              </a:extLst>
            </p:cNvPr>
            <p:cNvSpPr/>
            <p:nvPr/>
          </p:nvSpPr>
          <p:spPr>
            <a:xfrm>
              <a:off x="508216" y="5206953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2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D572736F-DD32-4722-A86F-D5529A5B60F6}"/>
              </a:ext>
            </a:extLst>
          </p:cNvPr>
          <p:cNvSpPr txBox="1"/>
          <p:nvPr/>
        </p:nvSpPr>
        <p:spPr>
          <a:xfrm>
            <a:off x="1417897" y="1049503"/>
            <a:ext cx="1307939" cy="3991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600" kern="0" dirty="0">
                <a:solidFill>
                  <a:srgbClr val="6C79BA"/>
                </a:solidFill>
                <a:cs typeface="+mn-ea"/>
                <a:sym typeface="+mn-lt"/>
              </a:rPr>
              <a:t>Synergistically utilize technically sound portals with frictionless </a:t>
            </a:r>
            <a:r>
              <a:rPr sz="600" kern="0" dirty="0" err="1">
                <a:solidFill>
                  <a:srgbClr val="6C79BA"/>
                </a:solidFill>
                <a:cs typeface="+mn-ea"/>
                <a:sym typeface="+mn-lt"/>
              </a:rPr>
              <a:t>chains</a:t>
            </a:r>
            <a:r>
              <a:rPr lang="en-US" altLang="zh-CN" sz="600" kern="0" dirty="0" err="1">
                <a:solidFill>
                  <a:srgbClr val="6C79BA"/>
                </a:solidFill>
                <a:cs typeface="+mn-ea"/>
                <a:sym typeface="+mn-lt"/>
              </a:rPr>
              <a:t>Synergistically</a:t>
            </a:r>
            <a:endParaRPr lang="en-US" altLang="zh-CN" sz="600" kern="0" dirty="0">
              <a:solidFill>
                <a:srgbClr val="6C79BA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71714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  <p:bldP spid="11" grpId="0"/>
      <p:bldP spid="2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E4EC912-9C08-4514-9E28-CD8EF2B7F09B}"/>
              </a:ext>
            </a:extLst>
          </p:cNvPr>
          <p:cNvSpPr/>
          <p:nvPr/>
        </p:nvSpPr>
        <p:spPr>
          <a:xfrm>
            <a:off x="-5" y="0"/>
            <a:ext cx="4978405" cy="6858000"/>
          </a:xfrm>
          <a:custGeom>
            <a:avLst/>
            <a:gdLst>
              <a:gd name="connsiteX0" fmla="*/ 0 w 9686869"/>
              <a:gd name="connsiteY0" fmla="*/ 0 h 6858000"/>
              <a:gd name="connsiteX1" fmla="*/ 9660961 w 9686869"/>
              <a:gd name="connsiteY1" fmla="*/ 0 h 6858000"/>
              <a:gd name="connsiteX2" fmla="*/ 9682125 w 9686869"/>
              <a:gd name="connsiteY2" fmla="*/ 264979 h 6858000"/>
              <a:gd name="connsiteX3" fmla="*/ 9601200 w 9686869"/>
              <a:gd name="connsiteY3" fmla="*/ 1162050 h 6858000"/>
              <a:gd name="connsiteX4" fmla="*/ 8191500 w 9686869"/>
              <a:gd name="connsiteY4" fmla="*/ 2914650 h 6858000"/>
              <a:gd name="connsiteX5" fmla="*/ 8056304 w 9686869"/>
              <a:gd name="connsiteY5" fmla="*/ 6855672 h 6858000"/>
              <a:gd name="connsiteX6" fmla="*/ 8056337 w 9686869"/>
              <a:gd name="connsiteY6" fmla="*/ 6858000 h 6858000"/>
              <a:gd name="connsiteX7" fmla="*/ 0 w 9686869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686869" h="6858000">
                <a:moveTo>
                  <a:pt x="0" y="0"/>
                </a:moveTo>
                <a:lnTo>
                  <a:pt x="9660961" y="0"/>
                </a:lnTo>
                <a:lnTo>
                  <a:pt x="9682125" y="264979"/>
                </a:lnTo>
                <a:cubicBezTo>
                  <a:pt x="9697343" y="586606"/>
                  <a:pt x="9677400" y="889397"/>
                  <a:pt x="9601200" y="1162050"/>
                </a:cubicBezTo>
                <a:cubicBezTo>
                  <a:pt x="9398000" y="1889125"/>
                  <a:pt x="8448675" y="1885950"/>
                  <a:pt x="8191500" y="2914650"/>
                </a:cubicBezTo>
                <a:cubicBezTo>
                  <a:pt x="7974509" y="3782616"/>
                  <a:pt x="8040058" y="5794307"/>
                  <a:pt x="8056304" y="6855672"/>
                </a:cubicBezTo>
                <a:lnTo>
                  <a:pt x="8056337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-4572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3DCDCD3-6F63-41CB-987C-69FCCCCD5779}"/>
              </a:ext>
            </a:extLst>
          </p:cNvPr>
          <p:cNvSpPr txBox="1"/>
          <p:nvPr/>
        </p:nvSpPr>
        <p:spPr>
          <a:xfrm>
            <a:off x="11431988" y="3647624"/>
            <a:ext cx="760012" cy="3210375"/>
          </a:xfrm>
          <a:custGeom>
            <a:avLst/>
            <a:gdLst>
              <a:gd name="connsiteX0" fmla="*/ 782246 w 782246"/>
              <a:gd name="connsiteY0" fmla="*/ 0 h 3210375"/>
              <a:gd name="connsiteX1" fmla="*/ 782246 w 782246"/>
              <a:gd name="connsiteY1" fmla="*/ 3210375 h 3210375"/>
              <a:gd name="connsiteX2" fmla="*/ 12548 w 782246"/>
              <a:gd name="connsiteY2" fmla="*/ 3210375 h 3210375"/>
              <a:gd name="connsiteX3" fmla="*/ 12530 w 782246"/>
              <a:gd name="connsiteY3" fmla="*/ 3208979 h 3210375"/>
              <a:gd name="connsiteX4" fmla="*/ 89587 w 782246"/>
              <a:gd name="connsiteY4" fmla="*/ 844366 h 3210375"/>
              <a:gd name="connsiteX5" fmla="*/ 739283 w 782246"/>
              <a:gd name="connsiteY5" fmla="*/ 54357 h 3210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2246" h="3210375">
                <a:moveTo>
                  <a:pt x="782246" y="0"/>
                </a:moveTo>
                <a:lnTo>
                  <a:pt x="782246" y="3210375"/>
                </a:lnTo>
                <a:lnTo>
                  <a:pt x="12548" y="3210375"/>
                </a:lnTo>
                <a:lnTo>
                  <a:pt x="12530" y="3208979"/>
                </a:lnTo>
                <a:cubicBezTo>
                  <a:pt x="3270" y="2572160"/>
                  <a:pt x="-34092" y="1365146"/>
                  <a:pt x="89587" y="844366"/>
                </a:cubicBezTo>
                <a:cubicBezTo>
                  <a:pt x="199524" y="381451"/>
                  <a:pt x="531370" y="266794"/>
                  <a:pt x="739283" y="54357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0" marR="0" lvl="1" indent="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>
              <a:latin typeface="+mn-lt"/>
              <a:cs typeface="+mn-ea"/>
              <a:sym typeface="+mn-lt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B7632CB2-5BFE-4784-8F04-BF1DE142EDF6}"/>
              </a:ext>
            </a:extLst>
          </p:cNvPr>
          <p:cNvSpPr/>
          <p:nvPr/>
        </p:nvSpPr>
        <p:spPr>
          <a:xfrm>
            <a:off x="0" y="0"/>
            <a:ext cx="2243963" cy="6858000"/>
          </a:xfrm>
          <a:custGeom>
            <a:avLst/>
            <a:gdLst>
              <a:gd name="connsiteX0" fmla="*/ 0 w 2243963"/>
              <a:gd name="connsiteY0" fmla="*/ 0 h 6858000"/>
              <a:gd name="connsiteX1" fmla="*/ 2220051 w 2243963"/>
              <a:gd name="connsiteY1" fmla="*/ 0 h 6858000"/>
              <a:gd name="connsiteX2" fmla="*/ 2239585 w 2243963"/>
              <a:gd name="connsiteY2" fmla="*/ 264979 h 6858000"/>
              <a:gd name="connsiteX3" fmla="*/ 2164895 w 2243963"/>
              <a:gd name="connsiteY3" fmla="*/ 1162050 h 6858000"/>
              <a:gd name="connsiteX4" fmla="*/ 863812 w 2243963"/>
              <a:gd name="connsiteY4" fmla="*/ 2914650 h 6858000"/>
              <a:gd name="connsiteX5" fmla="*/ 739033 w 2243963"/>
              <a:gd name="connsiteY5" fmla="*/ 6855672 h 6858000"/>
              <a:gd name="connsiteX6" fmla="*/ 739064 w 2243963"/>
              <a:gd name="connsiteY6" fmla="*/ 6858000 h 6858000"/>
              <a:gd name="connsiteX7" fmla="*/ 0 w 2243963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43963" h="6858000">
                <a:moveTo>
                  <a:pt x="0" y="0"/>
                </a:moveTo>
                <a:lnTo>
                  <a:pt x="2220051" y="0"/>
                </a:lnTo>
                <a:lnTo>
                  <a:pt x="2239585" y="264979"/>
                </a:lnTo>
                <a:cubicBezTo>
                  <a:pt x="2253630" y="586606"/>
                  <a:pt x="2235224" y="889397"/>
                  <a:pt x="2164895" y="1162050"/>
                </a:cubicBezTo>
                <a:cubicBezTo>
                  <a:pt x="1977351" y="1889125"/>
                  <a:pt x="1101172" y="1885950"/>
                  <a:pt x="863812" y="2914650"/>
                </a:cubicBezTo>
                <a:cubicBezTo>
                  <a:pt x="663540" y="3782616"/>
                  <a:pt x="724039" y="5794307"/>
                  <a:pt x="739033" y="6855672"/>
                </a:cubicBezTo>
                <a:lnTo>
                  <a:pt x="73906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-4572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0D794A0-2573-417C-BCD3-8A8FDB5E2271}"/>
              </a:ext>
            </a:extLst>
          </p:cNvPr>
          <p:cNvSpPr txBox="1"/>
          <p:nvPr/>
        </p:nvSpPr>
        <p:spPr>
          <a:xfrm>
            <a:off x="456279" y="555479"/>
            <a:ext cx="955863" cy="10477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0" lvl="1" indent="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>
              <a:latin typeface="+mn-lt"/>
              <a:cs typeface="+mn-ea"/>
              <a:sym typeface="+mn-lt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7B99490-B463-46D9-8A93-149EFCABD53B}"/>
              </a:ext>
            </a:extLst>
          </p:cNvPr>
          <p:cNvSpPr txBox="1"/>
          <p:nvPr/>
        </p:nvSpPr>
        <p:spPr>
          <a:xfrm>
            <a:off x="6540974" y="1015735"/>
            <a:ext cx="1658885" cy="1658885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2168E343-D316-4315-9ED6-6F86C4B88D9E}"/>
              </a:ext>
            </a:extLst>
          </p:cNvPr>
          <p:cNvGrpSpPr/>
          <p:nvPr/>
        </p:nvGrpSpPr>
        <p:grpSpPr>
          <a:xfrm>
            <a:off x="6960423" y="1487844"/>
            <a:ext cx="819986" cy="714667"/>
            <a:chOff x="8868627" y="4646203"/>
            <a:chExt cx="346075" cy="301625"/>
          </a:xfrm>
        </p:grpSpPr>
        <p:sp>
          <p:nvSpPr>
            <p:cNvPr id="46" name="Freeform 91">
              <a:extLst>
                <a:ext uri="{FF2B5EF4-FFF2-40B4-BE49-F238E27FC236}">
                  <a16:creationId xmlns:a16="http://schemas.microsoft.com/office/drawing/2014/main" id="{809FAE1F-F663-4B0E-AFD0-8799497483C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09927" y="4812890"/>
              <a:ext cx="104775" cy="104775"/>
            </a:xfrm>
            <a:custGeom>
              <a:avLst/>
              <a:gdLst>
                <a:gd name="T0" fmla="*/ 0 w 28"/>
                <a:gd name="T1" fmla="*/ 0 h 28"/>
                <a:gd name="T2" fmla="*/ 18 w 28"/>
                <a:gd name="T3" fmla="*/ 0 h 28"/>
                <a:gd name="T4" fmla="*/ 28 w 28"/>
                <a:gd name="T5" fmla="*/ 16 h 28"/>
                <a:gd name="T6" fmla="*/ 28 w 28"/>
                <a:gd name="T7" fmla="*/ 22 h 28"/>
                <a:gd name="T8" fmla="*/ 28 w 28"/>
                <a:gd name="T9" fmla="*/ 28 h 28"/>
                <a:gd name="T10" fmla="*/ 18 w 28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8" y="20"/>
                    <a:pt x="28" y="22"/>
                  </a:cubicBezTo>
                  <a:cubicBezTo>
                    <a:pt x="28" y="24"/>
                    <a:pt x="28" y="28"/>
                    <a:pt x="28" y="28"/>
                  </a:cubicBezTo>
                  <a:cubicBezTo>
                    <a:pt x="18" y="28"/>
                    <a:pt x="18" y="28"/>
                    <a:pt x="18" y="28"/>
                  </a:cubicBez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7" name="Freeform 92">
              <a:extLst>
                <a:ext uri="{FF2B5EF4-FFF2-40B4-BE49-F238E27FC236}">
                  <a16:creationId xmlns:a16="http://schemas.microsoft.com/office/drawing/2014/main" id="{7B7309B8-E1B9-4AF6-8EE4-CD1B36897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5789" y="4766853"/>
              <a:ext cx="84138" cy="150813"/>
            </a:xfrm>
            <a:custGeom>
              <a:avLst/>
              <a:gdLst>
                <a:gd name="T0" fmla="*/ 0 w 53"/>
                <a:gd name="T1" fmla="*/ 95 h 95"/>
                <a:gd name="T2" fmla="*/ 53 w 53"/>
                <a:gd name="T3" fmla="*/ 95 h 95"/>
                <a:gd name="T4" fmla="*/ 53 w 53"/>
                <a:gd name="T5" fmla="*/ 0 h 95"/>
                <a:gd name="T6" fmla="*/ 0 w 53"/>
                <a:gd name="T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95">
                  <a:moveTo>
                    <a:pt x="0" y="95"/>
                  </a:moveTo>
                  <a:lnTo>
                    <a:pt x="53" y="95"/>
                  </a:lnTo>
                  <a:lnTo>
                    <a:pt x="53" y="0"/>
                  </a:lnTo>
                  <a:lnTo>
                    <a:pt x="0" y="0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8" name="Freeform 93">
              <a:extLst>
                <a:ext uri="{FF2B5EF4-FFF2-40B4-BE49-F238E27FC236}">
                  <a16:creationId xmlns:a16="http://schemas.microsoft.com/office/drawing/2014/main" id="{2F847FF4-A895-4F20-812D-C330586BED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43239" y="4804953"/>
              <a:ext cx="38100" cy="112713"/>
            </a:xfrm>
            <a:custGeom>
              <a:avLst/>
              <a:gdLst>
                <a:gd name="T0" fmla="*/ 0 w 24"/>
                <a:gd name="T1" fmla="*/ 0 h 71"/>
                <a:gd name="T2" fmla="*/ 0 w 24"/>
                <a:gd name="T3" fmla="*/ 71 h 71"/>
                <a:gd name="T4" fmla="*/ 24 w 24"/>
                <a:gd name="T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71">
                  <a:moveTo>
                    <a:pt x="0" y="0"/>
                  </a:moveTo>
                  <a:lnTo>
                    <a:pt x="0" y="71"/>
                  </a:lnTo>
                  <a:lnTo>
                    <a:pt x="24" y="71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9" name="Oval 94">
              <a:extLst>
                <a:ext uri="{FF2B5EF4-FFF2-40B4-BE49-F238E27FC236}">
                  <a16:creationId xmlns:a16="http://schemas.microsoft.com/office/drawing/2014/main" id="{9E6B5B20-C548-4B0F-84C1-5A66F4EF60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32152" y="4903378"/>
              <a:ext cx="44450" cy="44450"/>
            </a:xfrm>
            <a:prstGeom prst="ellips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0" name="Oval 95">
              <a:extLst>
                <a:ext uri="{FF2B5EF4-FFF2-40B4-BE49-F238E27FC236}">
                  <a16:creationId xmlns:a16="http://schemas.microsoft.com/office/drawing/2014/main" id="{70D8F2B5-23FD-45EF-9D05-8DA6F6B54C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1339" y="4903378"/>
              <a:ext cx="44450" cy="44450"/>
            </a:xfrm>
            <a:prstGeom prst="ellips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3" name="Line 98">
              <a:extLst>
                <a:ext uri="{FF2B5EF4-FFF2-40B4-BE49-F238E27FC236}">
                  <a16:creationId xmlns:a16="http://schemas.microsoft.com/office/drawing/2014/main" id="{CF3BC38F-8CD4-42C9-9C17-B1CFC2429B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68627" y="4843053"/>
              <a:ext cx="444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4" name="Line 99">
              <a:extLst>
                <a:ext uri="{FF2B5EF4-FFF2-40B4-BE49-F238E27FC236}">
                  <a16:creationId xmlns:a16="http://schemas.microsoft.com/office/drawing/2014/main" id="{07A75EC3-9027-4CD2-A8B0-80CB325777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890852" y="4873215"/>
              <a:ext cx="22225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5" name="Line 100">
              <a:extLst>
                <a:ext uri="{FF2B5EF4-FFF2-40B4-BE49-F238E27FC236}">
                  <a16:creationId xmlns:a16="http://schemas.microsoft.com/office/drawing/2014/main" id="{D38362CE-0059-4A4D-973C-FE7E60CB14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06727" y="4903378"/>
              <a:ext cx="635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6" name="Line 101">
              <a:extLst>
                <a:ext uri="{FF2B5EF4-FFF2-40B4-BE49-F238E27FC236}">
                  <a16:creationId xmlns:a16="http://schemas.microsoft.com/office/drawing/2014/main" id="{9BEC4BD9-C402-46E4-8EC3-AFBD21652C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09927" y="4873215"/>
              <a:ext cx="100013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7" name="Line 102">
              <a:extLst>
                <a:ext uri="{FF2B5EF4-FFF2-40B4-BE49-F238E27FC236}">
                  <a16:creationId xmlns:a16="http://schemas.microsoft.com/office/drawing/2014/main" id="{EAE1DECD-D7DB-4EA4-94A2-837ECDA7A3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09927" y="4917665"/>
              <a:ext cx="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8" name="Line 103">
              <a:extLst>
                <a:ext uri="{FF2B5EF4-FFF2-40B4-BE49-F238E27FC236}">
                  <a16:creationId xmlns:a16="http://schemas.microsoft.com/office/drawing/2014/main" id="{ED5E3C20-757D-4D21-832C-B65D587E67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109927" y="4917665"/>
              <a:ext cx="254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CD479776-7695-4CFB-AE92-03DCF4A19B4B}"/>
                </a:ext>
              </a:extLst>
            </p:cNvPr>
            <p:cNvGrpSpPr/>
            <p:nvPr/>
          </p:nvGrpSpPr>
          <p:grpSpPr>
            <a:xfrm>
              <a:off x="8868627" y="4646203"/>
              <a:ext cx="136525" cy="136525"/>
              <a:chOff x="8830527" y="5411361"/>
              <a:chExt cx="211138" cy="211138"/>
            </a:xfrm>
          </p:grpSpPr>
          <p:sp>
            <p:nvSpPr>
              <p:cNvPr id="60" name="Oval 216">
                <a:extLst>
                  <a:ext uri="{FF2B5EF4-FFF2-40B4-BE49-F238E27FC236}">
                    <a16:creationId xmlns:a16="http://schemas.microsoft.com/office/drawing/2014/main" id="{CF017AA9-E1A0-44F4-82C1-7B9FA226A0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30527" y="5411361"/>
                <a:ext cx="211138" cy="211138"/>
              </a:xfrm>
              <a:prstGeom prst="ellipse">
                <a:avLst/>
              </a:prstGeom>
              <a:noFill/>
              <a:ln w="317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61" name="Freeform 217">
                <a:extLst>
                  <a:ext uri="{FF2B5EF4-FFF2-40B4-BE49-F238E27FC236}">
                    <a16:creationId xmlns:a16="http://schemas.microsoft.com/office/drawing/2014/main" id="{9A098BAA-DEB1-4A2B-9950-2E965ACEA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79740" y="5487561"/>
                <a:ext cx="112713" cy="74613"/>
              </a:xfrm>
              <a:custGeom>
                <a:avLst/>
                <a:gdLst>
                  <a:gd name="T0" fmla="*/ 71 w 71"/>
                  <a:gd name="T1" fmla="*/ 0 h 47"/>
                  <a:gd name="T2" fmla="*/ 28 w 71"/>
                  <a:gd name="T3" fmla="*/ 47 h 47"/>
                  <a:gd name="T4" fmla="*/ 0 w 71"/>
                  <a:gd name="T5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1" h="47">
                    <a:moveTo>
                      <a:pt x="71" y="0"/>
                    </a:moveTo>
                    <a:lnTo>
                      <a:pt x="28" y="47"/>
                    </a:lnTo>
                    <a:lnTo>
                      <a:pt x="0" y="17"/>
                    </a:lnTo>
                  </a:path>
                </a:pathLst>
              </a:custGeom>
              <a:noFill/>
              <a:ln w="317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8C00C382-AF70-4AA2-9780-AB2341430E8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96" y="740931"/>
            <a:ext cx="6143961" cy="6143961"/>
          </a:xfrm>
          <a:prstGeom prst="rect">
            <a:avLst/>
          </a:prstGeom>
        </p:spPr>
      </p:pic>
      <p:sp>
        <p:nvSpPr>
          <p:cNvPr id="26" name="Google Shape;2062;p40">
            <a:extLst>
              <a:ext uri="{FF2B5EF4-FFF2-40B4-BE49-F238E27FC236}">
                <a16:creationId xmlns:a16="http://schemas.microsoft.com/office/drawing/2014/main" id="{83486DE4-E5AA-448A-9DB8-9D55479903B0}"/>
              </a:ext>
            </a:extLst>
          </p:cNvPr>
          <p:cNvSpPr/>
          <p:nvPr/>
        </p:nvSpPr>
        <p:spPr>
          <a:xfrm>
            <a:off x="6757306" y="2889019"/>
            <a:ext cx="3933200" cy="9312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" dirty="0">
                <a:cs typeface="+mn-ea"/>
                <a:sym typeface="+mn-lt"/>
              </a:rPr>
              <a:t> </a:t>
            </a:r>
            <a:endParaRPr dirty="0">
              <a:cs typeface="+mn-ea"/>
              <a:sym typeface="+mn-lt"/>
            </a:endParaRPr>
          </a:p>
        </p:txBody>
      </p:sp>
      <p:sp>
        <p:nvSpPr>
          <p:cNvPr id="27" name="Google Shape;2069;p40">
            <a:extLst>
              <a:ext uri="{FF2B5EF4-FFF2-40B4-BE49-F238E27FC236}">
                <a16:creationId xmlns:a16="http://schemas.microsoft.com/office/drawing/2014/main" id="{19708953-ECE1-44EA-9F9A-C8354FA02A32}"/>
              </a:ext>
            </a:extLst>
          </p:cNvPr>
          <p:cNvSpPr/>
          <p:nvPr/>
        </p:nvSpPr>
        <p:spPr>
          <a:xfrm>
            <a:off x="6915957" y="3082419"/>
            <a:ext cx="544400" cy="5444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">
                <a:cs typeface="+mn-ea"/>
                <a:sym typeface="+mn-lt"/>
              </a:rPr>
              <a:t>A</a:t>
            </a:r>
            <a:endParaRPr>
              <a:cs typeface="+mn-ea"/>
              <a:sym typeface="+mn-lt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55E12A74-B048-4279-8299-8704CE90DEBF}"/>
              </a:ext>
            </a:extLst>
          </p:cNvPr>
          <p:cNvSpPr txBox="1"/>
          <p:nvPr/>
        </p:nvSpPr>
        <p:spPr>
          <a:xfrm>
            <a:off x="7025292" y="3169952"/>
            <a:ext cx="253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rgbClr val="973B9E"/>
                </a:solidFill>
                <a:cs typeface="+mn-ea"/>
                <a:sym typeface="+mn-lt"/>
              </a:rPr>
              <a:t> </a:t>
            </a:r>
            <a:endParaRPr lang="zh-CN" altLang="en-US" dirty="0">
              <a:solidFill>
                <a:srgbClr val="973B9E"/>
              </a:solidFill>
              <a:cs typeface="+mn-ea"/>
              <a:sym typeface="+mn-lt"/>
            </a:endParaRPr>
          </a:p>
        </p:txBody>
      </p:sp>
      <p:sp>
        <p:nvSpPr>
          <p:cNvPr id="2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356F8132-1BD4-4730-9173-EAAD1BD89091}"/>
              </a:ext>
            </a:extLst>
          </p:cNvPr>
          <p:cNvSpPr txBox="1"/>
          <p:nvPr/>
        </p:nvSpPr>
        <p:spPr>
          <a:xfrm>
            <a:off x="7706684" y="3125196"/>
            <a:ext cx="2565582" cy="4779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</a:t>
            </a:r>
          </a:p>
        </p:txBody>
      </p:sp>
      <p:sp>
        <p:nvSpPr>
          <p:cNvPr id="30" name="Google Shape;2062;p40">
            <a:extLst>
              <a:ext uri="{FF2B5EF4-FFF2-40B4-BE49-F238E27FC236}">
                <a16:creationId xmlns:a16="http://schemas.microsoft.com/office/drawing/2014/main" id="{74FA7137-E908-4EAA-BA1D-0706B83C0110}"/>
              </a:ext>
            </a:extLst>
          </p:cNvPr>
          <p:cNvSpPr/>
          <p:nvPr/>
        </p:nvSpPr>
        <p:spPr>
          <a:xfrm>
            <a:off x="6757306" y="3907752"/>
            <a:ext cx="3933200" cy="9312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" dirty="0">
                <a:cs typeface="+mn-ea"/>
                <a:sym typeface="+mn-lt"/>
              </a:rPr>
              <a:t> </a:t>
            </a:r>
            <a:endParaRPr dirty="0">
              <a:cs typeface="+mn-ea"/>
              <a:sym typeface="+mn-lt"/>
            </a:endParaRPr>
          </a:p>
        </p:txBody>
      </p:sp>
      <p:sp>
        <p:nvSpPr>
          <p:cNvPr id="31" name="Google Shape;2069;p40">
            <a:extLst>
              <a:ext uri="{FF2B5EF4-FFF2-40B4-BE49-F238E27FC236}">
                <a16:creationId xmlns:a16="http://schemas.microsoft.com/office/drawing/2014/main" id="{7353689A-4A41-4CEF-AF7F-2C866352171A}"/>
              </a:ext>
            </a:extLst>
          </p:cNvPr>
          <p:cNvSpPr/>
          <p:nvPr/>
        </p:nvSpPr>
        <p:spPr>
          <a:xfrm>
            <a:off x="6915957" y="4101152"/>
            <a:ext cx="544400" cy="5444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" dirty="0">
                <a:cs typeface="+mn-ea"/>
                <a:sym typeface="+mn-lt"/>
              </a:rPr>
              <a:t>B</a:t>
            </a:r>
            <a:endParaRPr dirty="0">
              <a:cs typeface="+mn-ea"/>
              <a:sym typeface="+mn-lt"/>
            </a:endParaRPr>
          </a:p>
        </p:txBody>
      </p:sp>
      <p:sp>
        <p:nvSpPr>
          <p:cNvPr id="3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3E355BF3-A89B-4D5A-9603-53D722AEF5C1}"/>
              </a:ext>
            </a:extLst>
          </p:cNvPr>
          <p:cNvSpPr txBox="1"/>
          <p:nvPr/>
        </p:nvSpPr>
        <p:spPr>
          <a:xfrm>
            <a:off x="7706684" y="4143929"/>
            <a:ext cx="2565582" cy="4779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</a:t>
            </a:r>
          </a:p>
        </p:txBody>
      </p:sp>
      <p:sp>
        <p:nvSpPr>
          <p:cNvPr id="34" name="Google Shape;2062;p40">
            <a:extLst>
              <a:ext uri="{FF2B5EF4-FFF2-40B4-BE49-F238E27FC236}">
                <a16:creationId xmlns:a16="http://schemas.microsoft.com/office/drawing/2014/main" id="{433750F2-3072-4D2E-9796-B40B04CD08AE}"/>
              </a:ext>
            </a:extLst>
          </p:cNvPr>
          <p:cNvSpPr/>
          <p:nvPr/>
        </p:nvSpPr>
        <p:spPr>
          <a:xfrm>
            <a:off x="6757306" y="4860815"/>
            <a:ext cx="3933200" cy="9312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" dirty="0">
                <a:cs typeface="+mn-ea"/>
                <a:sym typeface="+mn-lt"/>
              </a:rPr>
              <a:t> </a:t>
            </a:r>
            <a:endParaRPr dirty="0">
              <a:cs typeface="+mn-ea"/>
              <a:sym typeface="+mn-lt"/>
            </a:endParaRPr>
          </a:p>
        </p:txBody>
      </p:sp>
      <p:sp>
        <p:nvSpPr>
          <p:cNvPr id="35" name="Google Shape;2069;p40">
            <a:extLst>
              <a:ext uri="{FF2B5EF4-FFF2-40B4-BE49-F238E27FC236}">
                <a16:creationId xmlns:a16="http://schemas.microsoft.com/office/drawing/2014/main" id="{BC27C4FF-7445-4F6B-95D0-CBA85630DF39}"/>
              </a:ext>
            </a:extLst>
          </p:cNvPr>
          <p:cNvSpPr/>
          <p:nvPr/>
        </p:nvSpPr>
        <p:spPr>
          <a:xfrm>
            <a:off x="6915957" y="5054215"/>
            <a:ext cx="544400" cy="5444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" dirty="0">
                <a:cs typeface="+mn-ea"/>
                <a:sym typeface="+mn-lt"/>
              </a:rPr>
              <a:t>C</a:t>
            </a:r>
            <a:endParaRPr dirty="0">
              <a:cs typeface="+mn-ea"/>
              <a:sym typeface="+mn-lt"/>
            </a:endParaRPr>
          </a:p>
        </p:txBody>
      </p:sp>
      <p:sp>
        <p:nvSpPr>
          <p:cNvPr id="3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0777D4B1-7FC9-4FFB-BC90-3B184A642F2C}"/>
              </a:ext>
            </a:extLst>
          </p:cNvPr>
          <p:cNvSpPr txBox="1"/>
          <p:nvPr/>
        </p:nvSpPr>
        <p:spPr>
          <a:xfrm>
            <a:off x="7706684" y="5096992"/>
            <a:ext cx="2565582" cy="4779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</a:t>
            </a:r>
          </a:p>
        </p:txBody>
      </p:sp>
      <p:sp>
        <p:nvSpPr>
          <p:cNvPr id="41" name="TextBox 116">
            <a:extLst>
              <a:ext uri="{FF2B5EF4-FFF2-40B4-BE49-F238E27FC236}">
                <a16:creationId xmlns:a16="http://schemas.microsoft.com/office/drawing/2014/main" id="{5CB5DDD9-F9DC-44EA-A424-ABA464CE9B7F}"/>
              </a:ext>
            </a:extLst>
          </p:cNvPr>
          <p:cNvSpPr txBox="1"/>
          <p:nvPr/>
        </p:nvSpPr>
        <p:spPr>
          <a:xfrm>
            <a:off x="3332504" y="1242793"/>
            <a:ext cx="278677" cy="278677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grpSp>
        <p:nvGrpSpPr>
          <p:cNvPr id="42" name="Group 184">
            <a:extLst>
              <a:ext uri="{FF2B5EF4-FFF2-40B4-BE49-F238E27FC236}">
                <a16:creationId xmlns:a16="http://schemas.microsoft.com/office/drawing/2014/main" id="{97962B96-81E5-4AAA-8D9A-50F16A47C9D2}"/>
              </a:ext>
            </a:extLst>
          </p:cNvPr>
          <p:cNvGrpSpPr/>
          <p:nvPr/>
        </p:nvGrpSpPr>
        <p:grpSpPr>
          <a:xfrm>
            <a:off x="8620887" y="888145"/>
            <a:ext cx="1651379" cy="1320136"/>
            <a:chOff x="10053740" y="592613"/>
            <a:chExt cx="1072349" cy="857252"/>
          </a:xfrm>
          <a:solidFill>
            <a:srgbClr val="FAD34D"/>
          </a:solidFill>
        </p:grpSpPr>
        <p:sp>
          <p:nvSpPr>
            <p:cNvPr id="44" name="Freeform: Shape 182">
              <a:extLst>
                <a:ext uri="{FF2B5EF4-FFF2-40B4-BE49-F238E27FC236}">
                  <a16:creationId xmlns:a16="http://schemas.microsoft.com/office/drawing/2014/main" id="{E40D1E40-C818-4E82-B55E-14598942B806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-4572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5" name="Freeform: Shape 183">
              <a:extLst>
                <a:ext uri="{FF2B5EF4-FFF2-40B4-BE49-F238E27FC236}">
                  <a16:creationId xmlns:a16="http://schemas.microsoft.com/office/drawing/2014/main" id="{C4ACE989-C3AF-4684-A61E-F5466142C5AB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-4572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2651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3" grpId="0" animBg="1"/>
      <p:bldP spid="3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/>
          <p:cNvSpPr txBox="1"/>
          <p:nvPr/>
        </p:nvSpPr>
        <p:spPr>
          <a:xfrm>
            <a:off x="161461" y="6710568"/>
            <a:ext cx="1800200" cy="118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3"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3"/>
              </a:rPr>
              <a:t>Template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ttp://www.1ppt.com/moban/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endParaRPr kumimoji="0" lang="en-US" altLang="zh-CN" sz="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8" name="TextBox 31">
            <a:extLst>
              <a:ext uri="{FF2B5EF4-FFF2-40B4-BE49-F238E27FC236}">
                <a16:creationId xmlns:a16="http://schemas.microsoft.com/office/drawing/2014/main" id="{E7FB9039-B1C0-49A1-A3BC-F55A9EA99967}"/>
              </a:ext>
            </a:extLst>
          </p:cNvPr>
          <p:cNvSpPr txBox="1"/>
          <p:nvPr/>
        </p:nvSpPr>
        <p:spPr>
          <a:xfrm rot="10800000" flipH="1">
            <a:off x="-20800" y="4080168"/>
            <a:ext cx="3841958" cy="2809874"/>
          </a:xfrm>
          <a:custGeom>
            <a:avLst/>
            <a:gdLst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54452"/>
              <a:gd name="connsiteX1" fmla="*/ 6674304 w 6674304"/>
              <a:gd name="connsiteY1" fmla="*/ 0 h 5954452"/>
              <a:gd name="connsiteX2" fmla="*/ 6672463 w 6674304"/>
              <a:gd name="connsiteY2" fmla="*/ 3528 h 5954452"/>
              <a:gd name="connsiteX3" fmla="*/ 6142663 w 6674304"/>
              <a:gd name="connsiteY3" fmla="*/ 1686835 h 5954452"/>
              <a:gd name="connsiteX4" fmla="*/ 4132917 w 6674304"/>
              <a:gd name="connsiteY4" fmla="*/ 2753737 h 5954452"/>
              <a:gd name="connsiteX5" fmla="*/ 3289320 w 6674304"/>
              <a:gd name="connsiteY5" fmla="*/ 4862728 h 5954452"/>
              <a:gd name="connsiteX6" fmla="*/ 1763402 w 6674304"/>
              <a:gd name="connsiteY6" fmla="*/ 5954443 h 5954452"/>
              <a:gd name="connsiteX7" fmla="*/ 63803 w 6674304"/>
              <a:gd name="connsiteY7" fmla="*/ 5470616 h 5954452"/>
              <a:gd name="connsiteX8" fmla="*/ 0 w 6674304"/>
              <a:gd name="connsiteY8" fmla="*/ 5467195 h 5954452"/>
              <a:gd name="connsiteX9" fmla="*/ 0 w 6674304"/>
              <a:gd name="connsiteY9" fmla="*/ 0 h 5954452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323857 w 6674304"/>
              <a:gd name="connsiteY5" fmla="*/ 488071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7613"/>
              <a:gd name="connsiteX1" fmla="*/ 6674304 w 6674304"/>
              <a:gd name="connsiteY1" fmla="*/ 0 h 5957613"/>
              <a:gd name="connsiteX2" fmla="*/ 6672463 w 6674304"/>
              <a:gd name="connsiteY2" fmla="*/ 3528 h 5957613"/>
              <a:gd name="connsiteX3" fmla="*/ 6142663 w 6674304"/>
              <a:gd name="connsiteY3" fmla="*/ 1686835 h 5957613"/>
              <a:gd name="connsiteX4" fmla="*/ 4132917 w 6674304"/>
              <a:gd name="connsiteY4" fmla="*/ 2753737 h 5957613"/>
              <a:gd name="connsiteX5" fmla="*/ 3323857 w 6674304"/>
              <a:gd name="connsiteY5" fmla="*/ 4880718 h 5957613"/>
              <a:gd name="connsiteX6" fmla="*/ 1763402 w 6674304"/>
              <a:gd name="connsiteY6" fmla="*/ 5954443 h 5957613"/>
              <a:gd name="connsiteX7" fmla="*/ 63803 w 6674304"/>
              <a:gd name="connsiteY7" fmla="*/ 5470616 h 5957613"/>
              <a:gd name="connsiteX8" fmla="*/ 0 w 6674304"/>
              <a:gd name="connsiteY8" fmla="*/ 5467195 h 5957613"/>
              <a:gd name="connsiteX9" fmla="*/ 0 w 6674304"/>
              <a:gd name="connsiteY9" fmla="*/ 0 h 5957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74304" h="5957613">
                <a:moveTo>
                  <a:pt x="0" y="0"/>
                </a:moveTo>
                <a:lnTo>
                  <a:pt x="6674304" y="0"/>
                </a:lnTo>
                <a:lnTo>
                  <a:pt x="6672463" y="3528"/>
                </a:lnTo>
                <a:cubicBezTo>
                  <a:pt x="6485641" y="423111"/>
                  <a:pt x="6718539" y="1011007"/>
                  <a:pt x="6142663" y="1686835"/>
                </a:cubicBezTo>
                <a:cubicBezTo>
                  <a:pt x="5728792" y="2172540"/>
                  <a:pt x="4602718" y="2221423"/>
                  <a:pt x="4132917" y="2753737"/>
                </a:cubicBezTo>
                <a:cubicBezTo>
                  <a:pt x="3663116" y="3286051"/>
                  <a:pt x="3658337" y="4266313"/>
                  <a:pt x="3323857" y="4880718"/>
                </a:cubicBezTo>
                <a:cubicBezTo>
                  <a:pt x="2989377" y="5495123"/>
                  <a:pt x="2577285" y="5862125"/>
                  <a:pt x="1763402" y="5954443"/>
                </a:cubicBezTo>
                <a:cubicBezTo>
                  <a:pt x="1230133" y="6001788"/>
                  <a:pt x="551766" y="5503698"/>
                  <a:pt x="63803" y="5470616"/>
                </a:cubicBezTo>
                <a:lnTo>
                  <a:pt x="0" y="5467195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0" marR="0" lvl="1" indent="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latin typeface="+mn-lt"/>
              <a:cs typeface="+mn-ea"/>
              <a:sym typeface="+mn-lt"/>
            </a:endParaRPr>
          </a:p>
        </p:txBody>
      </p:sp>
      <p:sp>
        <p:nvSpPr>
          <p:cNvPr id="26" name="Freeform: Shape 28">
            <a:extLst>
              <a:ext uri="{FF2B5EF4-FFF2-40B4-BE49-F238E27FC236}">
                <a16:creationId xmlns:a16="http://schemas.microsoft.com/office/drawing/2014/main" id="{BF709F12-0348-4592-B13A-EEAC8D372363}"/>
              </a:ext>
            </a:extLst>
          </p:cNvPr>
          <p:cNvSpPr/>
          <p:nvPr/>
        </p:nvSpPr>
        <p:spPr>
          <a:xfrm>
            <a:off x="5451676" y="0"/>
            <a:ext cx="6740324" cy="6858000"/>
          </a:xfrm>
          <a:custGeom>
            <a:avLst/>
            <a:gdLst>
              <a:gd name="connsiteX0" fmla="*/ 6050384 w 8632154"/>
              <a:gd name="connsiteY0" fmla="*/ 0 h 6858000"/>
              <a:gd name="connsiteX1" fmla="*/ 8632154 w 8632154"/>
              <a:gd name="connsiteY1" fmla="*/ 0 h 6858000"/>
              <a:gd name="connsiteX2" fmla="*/ 8632154 w 8632154"/>
              <a:gd name="connsiteY2" fmla="*/ 6858000 h 6858000"/>
              <a:gd name="connsiteX3" fmla="*/ 0 w 8632154"/>
              <a:gd name="connsiteY3" fmla="*/ 6858000 h 6858000"/>
              <a:gd name="connsiteX4" fmla="*/ 17136 w 8632154"/>
              <a:gd name="connsiteY4" fmla="*/ 6850412 h 6858000"/>
              <a:gd name="connsiteX5" fmla="*/ 1326096 w 8632154"/>
              <a:gd name="connsiteY5" fmla="*/ 5732390 h 6858000"/>
              <a:gd name="connsiteX6" fmla="*/ 2315345 w 8632154"/>
              <a:gd name="connsiteY6" fmla="*/ 3259269 h 6858000"/>
              <a:gd name="connsiteX7" fmla="*/ 4672086 w 8632154"/>
              <a:gd name="connsiteY7" fmla="*/ 2008159 h 6858000"/>
              <a:gd name="connsiteX8" fmla="*/ 5848499 w 8632154"/>
              <a:gd name="connsiteY8" fmla="*/ 9045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32154" h="6858000">
                <a:moveTo>
                  <a:pt x="6050384" y="0"/>
                </a:moveTo>
                <a:lnTo>
                  <a:pt x="8632154" y="0"/>
                </a:lnTo>
                <a:lnTo>
                  <a:pt x="8632154" y="6858000"/>
                </a:lnTo>
                <a:lnTo>
                  <a:pt x="0" y="6858000"/>
                </a:lnTo>
                <a:lnTo>
                  <a:pt x="17136" y="6850412"/>
                </a:lnTo>
                <a:cubicBezTo>
                  <a:pt x="500509" y="6620261"/>
                  <a:pt x="978767" y="6201556"/>
                  <a:pt x="1326096" y="5732390"/>
                </a:cubicBezTo>
                <a:cubicBezTo>
                  <a:pt x="1789202" y="5106837"/>
                  <a:pt x="1757679" y="3879973"/>
                  <a:pt x="2315345" y="3259269"/>
                </a:cubicBezTo>
                <a:cubicBezTo>
                  <a:pt x="2873010" y="2638564"/>
                  <a:pt x="4167763" y="2560976"/>
                  <a:pt x="4672086" y="2008159"/>
                </a:cubicBezTo>
                <a:cubicBezTo>
                  <a:pt x="5085790" y="1554678"/>
                  <a:pt x="4955167" y="563510"/>
                  <a:pt x="5848499" y="90459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7" name="Google Shape;1023;p41">
            <a:extLst>
              <a:ext uri="{FF2B5EF4-FFF2-40B4-BE49-F238E27FC236}">
                <a16:creationId xmlns:a16="http://schemas.microsoft.com/office/drawing/2014/main" id="{E111C823-9906-4AD2-8EB4-35909D125165}"/>
              </a:ext>
            </a:extLst>
          </p:cNvPr>
          <p:cNvSpPr/>
          <p:nvPr/>
        </p:nvSpPr>
        <p:spPr>
          <a:xfrm>
            <a:off x="427735" y="1296773"/>
            <a:ext cx="11517337" cy="503046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EB30120B-9C99-4B62-9529-7A3FEBA87F21}"/>
              </a:ext>
            </a:extLst>
          </p:cNvPr>
          <p:cNvGrpSpPr/>
          <p:nvPr/>
        </p:nvGrpSpPr>
        <p:grpSpPr>
          <a:xfrm>
            <a:off x="541064" y="382712"/>
            <a:ext cx="2582174" cy="500937"/>
            <a:chOff x="423052" y="305730"/>
            <a:chExt cx="2582174" cy="500937"/>
          </a:xfrm>
          <a:gradFill>
            <a:gsLst>
              <a:gs pos="0">
                <a:srgbClr val="1669E0"/>
              </a:gs>
              <a:gs pos="100000">
                <a:srgbClr val="37A6FF"/>
              </a:gs>
            </a:gsLst>
            <a:lin ang="5400012" scaled="0"/>
          </a:gradFill>
        </p:grpSpPr>
        <p:sp>
          <p:nvSpPr>
            <p:cNvPr id="21" name="Rectangle: Rounded Corners 34">
              <a:extLst>
                <a:ext uri="{FF2B5EF4-FFF2-40B4-BE49-F238E27FC236}">
                  <a16:creationId xmlns:a16="http://schemas.microsoft.com/office/drawing/2014/main" id="{B5D4A748-0DE1-4A85-B0B3-1CD6F753EFB0}"/>
                </a:ext>
              </a:extLst>
            </p:cNvPr>
            <p:cNvSpPr/>
            <p:nvPr/>
          </p:nvSpPr>
          <p:spPr>
            <a:xfrm>
              <a:off x="815816" y="305730"/>
              <a:ext cx="1830269" cy="50093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r>
                <a:rPr lang="en-US">
                  <a:solidFill>
                    <a:prstClr val="white"/>
                  </a:solidFill>
                  <a:cs typeface="+mn-ea"/>
                  <a:sym typeface="+mn-lt"/>
                </a:rPr>
                <a:t> </a:t>
              </a:r>
              <a:endParaRPr lang="en-US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2" name="iṩļïḓè">
              <a:extLst>
                <a:ext uri="{FF2B5EF4-FFF2-40B4-BE49-F238E27FC236}">
                  <a16:creationId xmlns:a16="http://schemas.microsoft.com/office/drawing/2014/main" id="{0A51B54A-BFBA-4C10-B737-6EBE2D033ED5}"/>
                </a:ext>
              </a:extLst>
            </p:cNvPr>
            <p:cNvSpPr txBox="1"/>
            <p:nvPr/>
          </p:nvSpPr>
          <p:spPr bwMode="auto">
            <a:xfrm>
              <a:off x="943549" y="407694"/>
              <a:ext cx="1534794" cy="33865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solidFill>
                    <a:prstClr val="white"/>
                  </a:solidFill>
                  <a:latin typeface="Calibri" panose="020F05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dist" defTabSz="914400"/>
              <a:r>
                <a:rPr lang="en-US" altLang="zh-CN" sz="1400" dirty="0">
                  <a:solidFill>
                    <a:srgbClr val="0F65B4"/>
                  </a:solidFill>
                  <a:cs typeface="+mn-ea"/>
                  <a:sym typeface="+mn-lt"/>
                </a:rPr>
                <a:t>Jpppt.com</a:t>
              </a:r>
            </a:p>
          </p:txBody>
        </p: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44168853-E355-430A-BEEB-45BFFA0DC82A}"/>
                </a:ext>
              </a:extLst>
            </p:cNvPr>
            <p:cNvSpPr/>
            <p:nvPr/>
          </p:nvSpPr>
          <p:spPr>
            <a:xfrm>
              <a:off x="423052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4" name="椭圆 23">
              <a:extLst>
                <a:ext uri="{FF2B5EF4-FFF2-40B4-BE49-F238E27FC236}">
                  <a16:creationId xmlns:a16="http://schemas.microsoft.com/office/drawing/2014/main" id="{805D7B7E-4A00-4830-8C2C-29340158B0CF}"/>
                </a:ext>
              </a:extLst>
            </p:cNvPr>
            <p:cNvSpPr/>
            <p:nvPr/>
          </p:nvSpPr>
          <p:spPr>
            <a:xfrm>
              <a:off x="2800384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0" name="Google Shape;771;p35">
            <a:extLst>
              <a:ext uri="{FF2B5EF4-FFF2-40B4-BE49-F238E27FC236}">
                <a16:creationId xmlns:a16="http://schemas.microsoft.com/office/drawing/2014/main" id="{E5146DD6-E5F9-4122-B1D2-9E6659926C7C}"/>
              </a:ext>
            </a:extLst>
          </p:cNvPr>
          <p:cNvSpPr/>
          <p:nvPr/>
        </p:nvSpPr>
        <p:spPr>
          <a:xfrm rot="10800000" flipH="1">
            <a:off x="933828" y="5027137"/>
            <a:ext cx="10412767" cy="23448"/>
          </a:xfrm>
          <a:custGeom>
            <a:avLst/>
            <a:gdLst/>
            <a:ahLst/>
            <a:cxnLst/>
            <a:rect l="l" t="t" r="r" b="b"/>
            <a:pathLst>
              <a:path w="285751" h="644" extrusionOk="0">
                <a:moveTo>
                  <a:pt x="0" y="1"/>
                </a:moveTo>
                <a:lnTo>
                  <a:pt x="0" y="644"/>
                </a:lnTo>
                <a:lnTo>
                  <a:pt x="285750" y="644"/>
                </a:lnTo>
                <a:lnTo>
                  <a:pt x="285750" y="1"/>
                </a:lnTo>
                <a:close/>
              </a:path>
            </a:pathLst>
          </a:custGeom>
          <a:solidFill>
            <a:schemeClr val="lt2"/>
          </a:solidFill>
          <a:ln w="38100" cap="flat" cmpd="sng">
            <a:solidFill>
              <a:srgbClr val="0D37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1" name="Google Shape;772;p35">
            <a:extLst>
              <a:ext uri="{FF2B5EF4-FFF2-40B4-BE49-F238E27FC236}">
                <a16:creationId xmlns:a16="http://schemas.microsoft.com/office/drawing/2014/main" id="{D2A73697-DDA7-4DD3-A06F-9B65A6862EB3}"/>
              </a:ext>
            </a:extLst>
          </p:cNvPr>
          <p:cNvSpPr/>
          <p:nvPr/>
        </p:nvSpPr>
        <p:spPr>
          <a:xfrm>
            <a:off x="1262273" y="1766439"/>
            <a:ext cx="2108924" cy="2695336"/>
          </a:xfrm>
          <a:custGeom>
            <a:avLst/>
            <a:gdLst/>
            <a:ahLst/>
            <a:cxnLst/>
            <a:rect l="l" t="t" r="r" b="b"/>
            <a:pathLst>
              <a:path w="41577" h="53138" extrusionOk="0">
                <a:moveTo>
                  <a:pt x="2334" y="0"/>
                </a:moveTo>
                <a:cubicBezTo>
                  <a:pt x="1048" y="0"/>
                  <a:pt x="0" y="1036"/>
                  <a:pt x="0" y="2322"/>
                </a:cubicBezTo>
                <a:lnTo>
                  <a:pt x="0" y="50804"/>
                </a:lnTo>
                <a:cubicBezTo>
                  <a:pt x="0" y="50899"/>
                  <a:pt x="12" y="50983"/>
                  <a:pt x="12" y="51066"/>
                </a:cubicBezTo>
                <a:cubicBezTo>
                  <a:pt x="36" y="51280"/>
                  <a:pt x="96" y="51495"/>
                  <a:pt x="179" y="51697"/>
                </a:cubicBezTo>
                <a:cubicBezTo>
                  <a:pt x="524" y="52543"/>
                  <a:pt x="1358" y="53138"/>
                  <a:pt x="2334" y="53138"/>
                </a:cubicBezTo>
                <a:lnTo>
                  <a:pt x="39255" y="53138"/>
                </a:lnTo>
                <a:cubicBezTo>
                  <a:pt x="40541" y="53138"/>
                  <a:pt x="41577" y="52090"/>
                  <a:pt x="41577" y="50804"/>
                </a:cubicBezTo>
                <a:lnTo>
                  <a:pt x="41577" y="2322"/>
                </a:lnTo>
                <a:cubicBezTo>
                  <a:pt x="41577" y="1036"/>
                  <a:pt x="40541" y="0"/>
                  <a:pt x="3925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2" name="Google Shape;773;p35">
            <a:extLst>
              <a:ext uri="{FF2B5EF4-FFF2-40B4-BE49-F238E27FC236}">
                <a16:creationId xmlns:a16="http://schemas.microsoft.com/office/drawing/2014/main" id="{B094EAB3-A880-4D1C-A42A-3BDB341C59E4}"/>
              </a:ext>
            </a:extLst>
          </p:cNvPr>
          <p:cNvSpPr/>
          <p:nvPr/>
        </p:nvSpPr>
        <p:spPr>
          <a:xfrm>
            <a:off x="1377621" y="4461771"/>
            <a:ext cx="1878843" cy="151663"/>
          </a:xfrm>
          <a:custGeom>
            <a:avLst/>
            <a:gdLst/>
            <a:ahLst/>
            <a:cxnLst/>
            <a:rect l="l" t="t" r="r" b="b"/>
            <a:pathLst>
              <a:path w="37041" h="2990" extrusionOk="0">
                <a:moveTo>
                  <a:pt x="0" y="1"/>
                </a:moveTo>
                <a:cubicBezTo>
                  <a:pt x="0" y="1656"/>
                  <a:pt x="1334" y="2989"/>
                  <a:pt x="2989" y="2989"/>
                </a:cubicBezTo>
                <a:lnTo>
                  <a:pt x="34040" y="2989"/>
                </a:lnTo>
                <a:cubicBezTo>
                  <a:pt x="35695" y="2989"/>
                  <a:pt x="37041" y="1656"/>
                  <a:pt x="37041" y="1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3" name="Google Shape;774;p35">
            <a:extLst>
              <a:ext uri="{FF2B5EF4-FFF2-40B4-BE49-F238E27FC236}">
                <a16:creationId xmlns:a16="http://schemas.microsoft.com/office/drawing/2014/main" id="{A7737BB7-F03C-4572-81D2-3BB761954C7D}"/>
              </a:ext>
            </a:extLst>
          </p:cNvPr>
          <p:cNvSpPr/>
          <p:nvPr/>
        </p:nvSpPr>
        <p:spPr>
          <a:xfrm>
            <a:off x="2192919" y="4914739"/>
            <a:ext cx="247683" cy="248240"/>
          </a:xfrm>
          <a:custGeom>
            <a:avLst/>
            <a:gdLst/>
            <a:ahLst/>
            <a:cxnLst/>
            <a:rect l="l" t="t" r="r" b="b"/>
            <a:pathLst>
              <a:path w="4883" h="4894" extrusionOk="0">
                <a:moveTo>
                  <a:pt x="2442" y="1"/>
                </a:moveTo>
                <a:cubicBezTo>
                  <a:pt x="1096" y="1"/>
                  <a:pt x="1" y="1096"/>
                  <a:pt x="1" y="2453"/>
                </a:cubicBezTo>
                <a:cubicBezTo>
                  <a:pt x="1" y="3799"/>
                  <a:pt x="1096" y="4894"/>
                  <a:pt x="2442" y="4894"/>
                </a:cubicBezTo>
                <a:cubicBezTo>
                  <a:pt x="3787" y="4894"/>
                  <a:pt x="4882" y="3799"/>
                  <a:pt x="4882" y="2453"/>
                </a:cubicBezTo>
                <a:cubicBezTo>
                  <a:pt x="4882" y="1096"/>
                  <a:pt x="3787" y="1"/>
                  <a:pt x="2442" y="1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14" name="Google Shape;775;p35">
            <a:extLst>
              <a:ext uri="{FF2B5EF4-FFF2-40B4-BE49-F238E27FC236}">
                <a16:creationId xmlns:a16="http://schemas.microsoft.com/office/drawing/2014/main" id="{93932DCA-6BC6-4E15-B0AA-835ECCD04BF2}"/>
              </a:ext>
            </a:extLst>
          </p:cNvPr>
          <p:cNvSpPr/>
          <p:nvPr/>
        </p:nvSpPr>
        <p:spPr>
          <a:xfrm>
            <a:off x="2139812" y="4613386"/>
            <a:ext cx="354556" cy="340657"/>
          </a:xfrm>
          <a:custGeom>
            <a:avLst/>
            <a:gdLst/>
            <a:ahLst/>
            <a:cxnLst/>
            <a:rect l="l" t="t" r="r" b="b"/>
            <a:pathLst>
              <a:path w="6990" h="6716" extrusionOk="0">
                <a:moveTo>
                  <a:pt x="0" y="0"/>
                </a:moveTo>
                <a:lnTo>
                  <a:pt x="3489" y="6715"/>
                </a:lnTo>
                <a:lnTo>
                  <a:pt x="6989" y="0"/>
                </a:ln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15" name="Google Shape;778;p35">
            <a:extLst>
              <a:ext uri="{FF2B5EF4-FFF2-40B4-BE49-F238E27FC236}">
                <a16:creationId xmlns:a16="http://schemas.microsoft.com/office/drawing/2014/main" id="{DA09E351-4AF7-4418-8719-8DA8A8C23138}"/>
              </a:ext>
            </a:extLst>
          </p:cNvPr>
          <p:cNvSpPr/>
          <p:nvPr/>
        </p:nvSpPr>
        <p:spPr>
          <a:xfrm>
            <a:off x="4741847" y="4914739"/>
            <a:ext cx="248240" cy="248240"/>
          </a:xfrm>
          <a:custGeom>
            <a:avLst/>
            <a:gdLst/>
            <a:ahLst/>
            <a:cxnLst/>
            <a:rect l="l" t="t" r="r" b="b"/>
            <a:pathLst>
              <a:path w="4894" h="4894" extrusionOk="0">
                <a:moveTo>
                  <a:pt x="2441" y="1"/>
                </a:moveTo>
                <a:cubicBezTo>
                  <a:pt x="1096" y="1"/>
                  <a:pt x="0" y="1096"/>
                  <a:pt x="0" y="2453"/>
                </a:cubicBezTo>
                <a:cubicBezTo>
                  <a:pt x="0" y="3799"/>
                  <a:pt x="1096" y="4894"/>
                  <a:pt x="2441" y="4894"/>
                </a:cubicBezTo>
                <a:cubicBezTo>
                  <a:pt x="3798" y="4894"/>
                  <a:pt x="4894" y="3799"/>
                  <a:pt x="4894" y="2453"/>
                </a:cubicBezTo>
                <a:cubicBezTo>
                  <a:pt x="4894" y="1096"/>
                  <a:pt x="3798" y="1"/>
                  <a:pt x="2441" y="1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16" name="Google Shape;779;p35">
            <a:extLst>
              <a:ext uri="{FF2B5EF4-FFF2-40B4-BE49-F238E27FC236}">
                <a16:creationId xmlns:a16="http://schemas.microsoft.com/office/drawing/2014/main" id="{456EDCBC-2301-4DE2-8B61-26E5FD897497}"/>
              </a:ext>
            </a:extLst>
          </p:cNvPr>
          <p:cNvSpPr/>
          <p:nvPr/>
        </p:nvSpPr>
        <p:spPr>
          <a:xfrm>
            <a:off x="3811151" y="1766439"/>
            <a:ext cx="2108975" cy="2695336"/>
          </a:xfrm>
          <a:custGeom>
            <a:avLst/>
            <a:gdLst/>
            <a:ahLst/>
            <a:cxnLst/>
            <a:rect l="l" t="t" r="r" b="b"/>
            <a:pathLst>
              <a:path w="41578" h="53138" extrusionOk="0">
                <a:moveTo>
                  <a:pt x="2334" y="0"/>
                </a:moveTo>
                <a:cubicBezTo>
                  <a:pt x="1048" y="0"/>
                  <a:pt x="1" y="1036"/>
                  <a:pt x="1" y="2322"/>
                </a:cubicBezTo>
                <a:lnTo>
                  <a:pt x="1" y="50804"/>
                </a:lnTo>
                <a:cubicBezTo>
                  <a:pt x="1" y="50899"/>
                  <a:pt x="13" y="50983"/>
                  <a:pt x="24" y="51066"/>
                </a:cubicBezTo>
                <a:cubicBezTo>
                  <a:pt x="48" y="51280"/>
                  <a:pt x="96" y="51495"/>
                  <a:pt x="179" y="51697"/>
                </a:cubicBezTo>
                <a:cubicBezTo>
                  <a:pt x="524" y="52543"/>
                  <a:pt x="1358" y="53138"/>
                  <a:pt x="2334" y="53138"/>
                </a:cubicBezTo>
                <a:lnTo>
                  <a:pt x="39256" y="53138"/>
                </a:lnTo>
                <a:cubicBezTo>
                  <a:pt x="40541" y="53138"/>
                  <a:pt x="41577" y="52090"/>
                  <a:pt x="41577" y="50804"/>
                </a:cubicBezTo>
                <a:lnTo>
                  <a:pt x="41577" y="2322"/>
                </a:lnTo>
                <a:cubicBezTo>
                  <a:pt x="41577" y="1036"/>
                  <a:pt x="40541" y="0"/>
                  <a:pt x="3925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17" name="Google Shape;780;p35">
            <a:extLst>
              <a:ext uri="{FF2B5EF4-FFF2-40B4-BE49-F238E27FC236}">
                <a16:creationId xmlns:a16="http://schemas.microsoft.com/office/drawing/2014/main" id="{8A321A0E-9B91-4A73-8376-3F77BF7EE8C9}"/>
              </a:ext>
            </a:extLst>
          </p:cNvPr>
          <p:cNvSpPr/>
          <p:nvPr/>
        </p:nvSpPr>
        <p:spPr>
          <a:xfrm>
            <a:off x="3926498" y="4461771"/>
            <a:ext cx="1878893" cy="151663"/>
          </a:xfrm>
          <a:custGeom>
            <a:avLst/>
            <a:gdLst/>
            <a:ahLst/>
            <a:cxnLst/>
            <a:rect l="l" t="t" r="r" b="b"/>
            <a:pathLst>
              <a:path w="37042" h="2990" extrusionOk="0">
                <a:moveTo>
                  <a:pt x="1" y="1"/>
                </a:moveTo>
                <a:cubicBezTo>
                  <a:pt x="1" y="1656"/>
                  <a:pt x="1334" y="2989"/>
                  <a:pt x="2989" y="2989"/>
                </a:cubicBezTo>
                <a:lnTo>
                  <a:pt x="34041" y="2989"/>
                </a:lnTo>
                <a:cubicBezTo>
                  <a:pt x="35696" y="2989"/>
                  <a:pt x="37041" y="1656"/>
                  <a:pt x="37041" y="1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8" name="Google Shape;781;p35">
            <a:extLst>
              <a:ext uri="{FF2B5EF4-FFF2-40B4-BE49-F238E27FC236}">
                <a16:creationId xmlns:a16="http://schemas.microsoft.com/office/drawing/2014/main" id="{77687D5B-B554-400C-B15B-FDD48AFB8331}"/>
              </a:ext>
            </a:extLst>
          </p:cNvPr>
          <p:cNvSpPr/>
          <p:nvPr/>
        </p:nvSpPr>
        <p:spPr>
          <a:xfrm>
            <a:off x="4688689" y="4613386"/>
            <a:ext cx="354556" cy="340657"/>
          </a:xfrm>
          <a:custGeom>
            <a:avLst/>
            <a:gdLst/>
            <a:ahLst/>
            <a:cxnLst/>
            <a:rect l="l" t="t" r="r" b="b"/>
            <a:pathLst>
              <a:path w="6990" h="6716" extrusionOk="0">
                <a:moveTo>
                  <a:pt x="0" y="0"/>
                </a:moveTo>
                <a:lnTo>
                  <a:pt x="3489" y="6715"/>
                </a:lnTo>
                <a:lnTo>
                  <a:pt x="6989" y="0"/>
                </a:ln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19" name="Google Shape;784;p35">
            <a:extLst>
              <a:ext uri="{FF2B5EF4-FFF2-40B4-BE49-F238E27FC236}">
                <a16:creationId xmlns:a16="http://schemas.microsoft.com/office/drawing/2014/main" id="{7B187E6A-64F7-4EA3-BBC5-7EB1A1475F43}"/>
              </a:ext>
            </a:extLst>
          </p:cNvPr>
          <p:cNvSpPr/>
          <p:nvPr/>
        </p:nvSpPr>
        <p:spPr>
          <a:xfrm>
            <a:off x="6360636" y="1766439"/>
            <a:ext cx="2108975" cy="2695336"/>
          </a:xfrm>
          <a:custGeom>
            <a:avLst/>
            <a:gdLst/>
            <a:ahLst/>
            <a:cxnLst/>
            <a:rect l="l" t="t" r="r" b="b"/>
            <a:pathLst>
              <a:path w="41578" h="53138" extrusionOk="0">
                <a:moveTo>
                  <a:pt x="2323" y="0"/>
                </a:moveTo>
                <a:cubicBezTo>
                  <a:pt x="1037" y="0"/>
                  <a:pt x="1" y="1036"/>
                  <a:pt x="1" y="2322"/>
                </a:cubicBezTo>
                <a:lnTo>
                  <a:pt x="1" y="50804"/>
                </a:lnTo>
                <a:cubicBezTo>
                  <a:pt x="1" y="50899"/>
                  <a:pt x="1" y="50983"/>
                  <a:pt x="13" y="51066"/>
                </a:cubicBezTo>
                <a:cubicBezTo>
                  <a:pt x="37" y="51280"/>
                  <a:pt x="84" y="51495"/>
                  <a:pt x="168" y="51697"/>
                </a:cubicBezTo>
                <a:cubicBezTo>
                  <a:pt x="525" y="52543"/>
                  <a:pt x="1346" y="53138"/>
                  <a:pt x="2323" y="53138"/>
                </a:cubicBezTo>
                <a:lnTo>
                  <a:pt x="39244" y="53138"/>
                </a:lnTo>
                <a:cubicBezTo>
                  <a:pt x="40530" y="53138"/>
                  <a:pt x="41577" y="52090"/>
                  <a:pt x="41577" y="50804"/>
                </a:cubicBezTo>
                <a:lnTo>
                  <a:pt x="41577" y="2322"/>
                </a:lnTo>
                <a:cubicBezTo>
                  <a:pt x="41577" y="1036"/>
                  <a:pt x="40530" y="0"/>
                  <a:pt x="3924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25" name="Google Shape;785;p35">
            <a:extLst>
              <a:ext uri="{FF2B5EF4-FFF2-40B4-BE49-F238E27FC236}">
                <a16:creationId xmlns:a16="http://schemas.microsoft.com/office/drawing/2014/main" id="{53ACFADC-1210-439D-AF0E-EF2D011B60DB}"/>
              </a:ext>
            </a:extLst>
          </p:cNvPr>
          <p:cNvSpPr/>
          <p:nvPr/>
        </p:nvSpPr>
        <p:spPr>
          <a:xfrm>
            <a:off x="6475426" y="4461771"/>
            <a:ext cx="1878843" cy="151663"/>
          </a:xfrm>
          <a:custGeom>
            <a:avLst/>
            <a:gdLst/>
            <a:ahLst/>
            <a:cxnLst/>
            <a:rect l="l" t="t" r="r" b="b"/>
            <a:pathLst>
              <a:path w="37041" h="2990" extrusionOk="0">
                <a:moveTo>
                  <a:pt x="0" y="1"/>
                </a:moveTo>
                <a:cubicBezTo>
                  <a:pt x="0" y="1656"/>
                  <a:pt x="1345" y="2989"/>
                  <a:pt x="3000" y="2989"/>
                </a:cubicBezTo>
                <a:lnTo>
                  <a:pt x="34052" y="2989"/>
                </a:lnTo>
                <a:cubicBezTo>
                  <a:pt x="35707" y="2989"/>
                  <a:pt x="37040" y="1656"/>
                  <a:pt x="37040" y="1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9" name="Google Shape;786;p35">
            <a:extLst>
              <a:ext uri="{FF2B5EF4-FFF2-40B4-BE49-F238E27FC236}">
                <a16:creationId xmlns:a16="http://schemas.microsoft.com/office/drawing/2014/main" id="{56EAD86C-7DF4-45C9-A909-7A0FB5816951}"/>
              </a:ext>
            </a:extLst>
          </p:cNvPr>
          <p:cNvSpPr/>
          <p:nvPr/>
        </p:nvSpPr>
        <p:spPr>
          <a:xfrm>
            <a:off x="7290819" y="4914739"/>
            <a:ext cx="248240" cy="248240"/>
          </a:xfrm>
          <a:custGeom>
            <a:avLst/>
            <a:gdLst/>
            <a:ahLst/>
            <a:cxnLst/>
            <a:rect l="l" t="t" r="r" b="b"/>
            <a:pathLst>
              <a:path w="4894" h="4894" extrusionOk="0">
                <a:moveTo>
                  <a:pt x="2453" y="1"/>
                </a:moveTo>
                <a:cubicBezTo>
                  <a:pt x="1096" y="1"/>
                  <a:pt x="0" y="1096"/>
                  <a:pt x="0" y="2453"/>
                </a:cubicBezTo>
                <a:cubicBezTo>
                  <a:pt x="0" y="3799"/>
                  <a:pt x="1096" y="4894"/>
                  <a:pt x="2453" y="4894"/>
                </a:cubicBezTo>
                <a:cubicBezTo>
                  <a:pt x="3799" y="4894"/>
                  <a:pt x="4894" y="3799"/>
                  <a:pt x="4894" y="2453"/>
                </a:cubicBezTo>
                <a:cubicBezTo>
                  <a:pt x="4894" y="1096"/>
                  <a:pt x="3799" y="1"/>
                  <a:pt x="2453" y="1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30" name="Google Shape;787;p35">
            <a:extLst>
              <a:ext uri="{FF2B5EF4-FFF2-40B4-BE49-F238E27FC236}">
                <a16:creationId xmlns:a16="http://schemas.microsoft.com/office/drawing/2014/main" id="{5C5A4667-CDAB-43EB-8879-369B8BDEFF5C}"/>
              </a:ext>
            </a:extLst>
          </p:cNvPr>
          <p:cNvSpPr/>
          <p:nvPr/>
        </p:nvSpPr>
        <p:spPr>
          <a:xfrm>
            <a:off x="7237567" y="4613386"/>
            <a:ext cx="354556" cy="340657"/>
          </a:xfrm>
          <a:custGeom>
            <a:avLst/>
            <a:gdLst/>
            <a:ahLst/>
            <a:cxnLst/>
            <a:rect l="l" t="t" r="r" b="b"/>
            <a:pathLst>
              <a:path w="6990" h="6716" extrusionOk="0">
                <a:moveTo>
                  <a:pt x="1" y="0"/>
                </a:moveTo>
                <a:lnTo>
                  <a:pt x="3501" y="6715"/>
                </a:lnTo>
                <a:lnTo>
                  <a:pt x="6990" y="0"/>
                </a:ln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31" name="Google Shape;790;p35">
            <a:extLst>
              <a:ext uri="{FF2B5EF4-FFF2-40B4-BE49-F238E27FC236}">
                <a16:creationId xmlns:a16="http://schemas.microsoft.com/office/drawing/2014/main" id="{3B3A4BA9-66EB-41FE-897F-B992FD3B19E6}"/>
              </a:ext>
            </a:extLst>
          </p:cNvPr>
          <p:cNvSpPr/>
          <p:nvPr/>
        </p:nvSpPr>
        <p:spPr>
          <a:xfrm>
            <a:off x="9840211" y="4914739"/>
            <a:ext cx="247683" cy="248240"/>
          </a:xfrm>
          <a:custGeom>
            <a:avLst/>
            <a:gdLst/>
            <a:ahLst/>
            <a:cxnLst/>
            <a:rect l="l" t="t" r="r" b="b"/>
            <a:pathLst>
              <a:path w="4883" h="4894" extrusionOk="0">
                <a:moveTo>
                  <a:pt x="2441" y="1"/>
                </a:moveTo>
                <a:cubicBezTo>
                  <a:pt x="1084" y="1"/>
                  <a:pt x="1" y="1096"/>
                  <a:pt x="1" y="2453"/>
                </a:cubicBezTo>
                <a:cubicBezTo>
                  <a:pt x="1" y="3799"/>
                  <a:pt x="1084" y="4894"/>
                  <a:pt x="2441" y="4894"/>
                </a:cubicBezTo>
                <a:cubicBezTo>
                  <a:pt x="3787" y="4894"/>
                  <a:pt x="4882" y="3799"/>
                  <a:pt x="4882" y="2453"/>
                </a:cubicBezTo>
                <a:cubicBezTo>
                  <a:pt x="4882" y="1096"/>
                  <a:pt x="3787" y="1"/>
                  <a:pt x="2441" y="1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32" name="Google Shape;791;p35">
            <a:extLst>
              <a:ext uri="{FF2B5EF4-FFF2-40B4-BE49-F238E27FC236}">
                <a16:creationId xmlns:a16="http://schemas.microsoft.com/office/drawing/2014/main" id="{C82ADAAC-DA95-4EC2-9695-BF0588D6BB23}"/>
              </a:ext>
            </a:extLst>
          </p:cNvPr>
          <p:cNvSpPr/>
          <p:nvPr/>
        </p:nvSpPr>
        <p:spPr>
          <a:xfrm>
            <a:off x="8909564" y="1766439"/>
            <a:ext cx="2108924" cy="2695336"/>
          </a:xfrm>
          <a:custGeom>
            <a:avLst/>
            <a:gdLst/>
            <a:ahLst/>
            <a:cxnLst/>
            <a:rect l="l" t="t" r="r" b="b"/>
            <a:pathLst>
              <a:path w="41577" h="53138" extrusionOk="0">
                <a:moveTo>
                  <a:pt x="2322" y="0"/>
                </a:moveTo>
                <a:cubicBezTo>
                  <a:pt x="1036" y="0"/>
                  <a:pt x="0" y="1036"/>
                  <a:pt x="0" y="2322"/>
                </a:cubicBezTo>
                <a:lnTo>
                  <a:pt x="0" y="50804"/>
                </a:lnTo>
                <a:cubicBezTo>
                  <a:pt x="0" y="50899"/>
                  <a:pt x="0" y="50983"/>
                  <a:pt x="12" y="51066"/>
                </a:cubicBezTo>
                <a:cubicBezTo>
                  <a:pt x="36" y="51280"/>
                  <a:pt x="95" y="51495"/>
                  <a:pt x="179" y="51697"/>
                </a:cubicBezTo>
                <a:cubicBezTo>
                  <a:pt x="524" y="52543"/>
                  <a:pt x="1357" y="53138"/>
                  <a:pt x="2322" y="53138"/>
                </a:cubicBezTo>
                <a:lnTo>
                  <a:pt x="39243" y="53138"/>
                </a:lnTo>
                <a:cubicBezTo>
                  <a:pt x="40529" y="53138"/>
                  <a:pt x="41577" y="52090"/>
                  <a:pt x="41577" y="50804"/>
                </a:cubicBezTo>
                <a:lnTo>
                  <a:pt x="41577" y="2322"/>
                </a:lnTo>
                <a:cubicBezTo>
                  <a:pt x="41577" y="1036"/>
                  <a:pt x="40529" y="0"/>
                  <a:pt x="392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33" name="Google Shape;792;p35">
            <a:extLst>
              <a:ext uri="{FF2B5EF4-FFF2-40B4-BE49-F238E27FC236}">
                <a16:creationId xmlns:a16="http://schemas.microsoft.com/office/drawing/2014/main" id="{F77F1C47-EAE4-4E10-8464-31AD75ABFEAE}"/>
              </a:ext>
            </a:extLst>
          </p:cNvPr>
          <p:cNvSpPr/>
          <p:nvPr/>
        </p:nvSpPr>
        <p:spPr>
          <a:xfrm>
            <a:off x="9024601" y="4461771"/>
            <a:ext cx="1878843" cy="151663"/>
          </a:xfrm>
          <a:custGeom>
            <a:avLst/>
            <a:gdLst/>
            <a:ahLst/>
            <a:cxnLst/>
            <a:rect l="l" t="t" r="r" b="b"/>
            <a:pathLst>
              <a:path w="37041" h="2990" extrusionOk="0">
                <a:moveTo>
                  <a:pt x="0" y="1"/>
                </a:moveTo>
                <a:cubicBezTo>
                  <a:pt x="0" y="1656"/>
                  <a:pt x="1346" y="2989"/>
                  <a:pt x="3001" y="2989"/>
                </a:cubicBezTo>
                <a:lnTo>
                  <a:pt x="34052" y="2989"/>
                </a:lnTo>
                <a:cubicBezTo>
                  <a:pt x="35707" y="2989"/>
                  <a:pt x="37041" y="1656"/>
                  <a:pt x="37041" y="1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34" name="Google Shape;793;p35">
            <a:extLst>
              <a:ext uri="{FF2B5EF4-FFF2-40B4-BE49-F238E27FC236}">
                <a16:creationId xmlns:a16="http://schemas.microsoft.com/office/drawing/2014/main" id="{FB1A9570-37BC-42E0-B2CB-6521F7AA4861}"/>
              </a:ext>
            </a:extLst>
          </p:cNvPr>
          <p:cNvSpPr/>
          <p:nvPr/>
        </p:nvSpPr>
        <p:spPr>
          <a:xfrm>
            <a:off x="9786495" y="4613386"/>
            <a:ext cx="354505" cy="340657"/>
          </a:xfrm>
          <a:custGeom>
            <a:avLst/>
            <a:gdLst/>
            <a:ahLst/>
            <a:cxnLst/>
            <a:rect l="l" t="t" r="r" b="b"/>
            <a:pathLst>
              <a:path w="6989" h="6716" extrusionOk="0">
                <a:moveTo>
                  <a:pt x="0" y="0"/>
                </a:moveTo>
                <a:lnTo>
                  <a:pt x="3500" y="6715"/>
                </a:lnTo>
                <a:lnTo>
                  <a:pt x="6989" y="0"/>
                </a:ln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35" name="Google Shape;796;p35">
            <a:extLst>
              <a:ext uri="{FF2B5EF4-FFF2-40B4-BE49-F238E27FC236}">
                <a16:creationId xmlns:a16="http://schemas.microsoft.com/office/drawing/2014/main" id="{CBCEC146-3E80-4CE8-9737-2453CD568774}"/>
              </a:ext>
            </a:extLst>
          </p:cNvPr>
          <p:cNvSpPr txBox="1"/>
          <p:nvPr/>
        </p:nvSpPr>
        <p:spPr>
          <a:xfrm>
            <a:off x="1892791" y="5379373"/>
            <a:ext cx="848000" cy="68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6133" b="0" i="0" u="none" strike="noStrike" kern="0" cap="none" spc="0" normalizeH="0" baseline="0" noProof="0" dirty="0">
                <a:ln>
                  <a:noFill/>
                </a:ln>
                <a:solidFill>
                  <a:srgbClr val="0D3787"/>
                </a:solidFill>
                <a:effectLst/>
                <a:uLnTx/>
                <a:uFillTx/>
                <a:cs typeface="+mn-ea"/>
                <a:sym typeface="+mn-lt"/>
              </a:rPr>
              <a:t>A</a:t>
            </a:r>
            <a:endParaRPr kumimoji="0" sz="6133" b="0" i="0" u="none" strike="noStrike" kern="0" cap="none" spc="0" normalizeH="0" baseline="0" noProof="0" dirty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6" name="Google Shape;797;p35">
            <a:extLst>
              <a:ext uri="{FF2B5EF4-FFF2-40B4-BE49-F238E27FC236}">
                <a16:creationId xmlns:a16="http://schemas.microsoft.com/office/drawing/2014/main" id="{927A85C3-075D-4D3D-854D-2A311D6AFC81}"/>
              </a:ext>
            </a:extLst>
          </p:cNvPr>
          <p:cNvSpPr txBox="1"/>
          <p:nvPr/>
        </p:nvSpPr>
        <p:spPr>
          <a:xfrm>
            <a:off x="4441875" y="5379373"/>
            <a:ext cx="848000" cy="68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6133" b="0" i="0" u="none" strike="noStrike" kern="0" cap="none" spc="0" normalizeH="0" baseline="0" noProof="0" dirty="0">
                <a:ln>
                  <a:noFill/>
                </a:ln>
                <a:solidFill>
                  <a:srgbClr val="0D3787"/>
                </a:solidFill>
                <a:effectLst/>
                <a:uLnTx/>
                <a:uFillTx/>
                <a:cs typeface="+mn-ea"/>
                <a:sym typeface="+mn-lt"/>
              </a:rPr>
              <a:t>B</a:t>
            </a:r>
            <a:endParaRPr kumimoji="0" sz="6133" b="0" i="0" u="none" strike="noStrike" kern="0" cap="none" spc="0" normalizeH="0" baseline="0" noProof="0" dirty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7" name="Google Shape;798;p35">
            <a:extLst>
              <a:ext uri="{FF2B5EF4-FFF2-40B4-BE49-F238E27FC236}">
                <a16:creationId xmlns:a16="http://schemas.microsoft.com/office/drawing/2014/main" id="{0B7D8A8E-8284-404D-B039-3E12D864E78F}"/>
              </a:ext>
            </a:extLst>
          </p:cNvPr>
          <p:cNvSpPr txBox="1"/>
          <p:nvPr/>
        </p:nvSpPr>
        <p:spPr>
          <a:xfrm>
            <a:off x="6990961" y="5379373"/>
            <a:ext cx="848000" cy="68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6133" b="0" i="0" u="none" strike="noStrike" kern="0" cap="none" spc="0" normalizeH="0" baseline="0" noProof="0" dirty="0">
                <a:ln>
                  <a:noFill/>
                </a:ln>
                <a:solidFill>
                  <a:srgbClr val="0D3787"/>
                </a:solidFill>
                <a:effectLst/>
                <a:uLnTx/>
                <a:uFillTx/>
                <a:cs typeface="+mn-ea"/>
                <a:sym typeface="+mn-lt"/>
              </a:rPr>
              <a:t>C</a:t>
            </a:r>
            <a:endParaRPr kumimoji="0" sz="6133" b="0" i="0" u="none" strike="noStrike" kern="0" cap="none" spc="0" normalizeH="0" baseline="0" noProof="0" dirty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8" name="Google Shape;799;p35">
            <a:extLst>
              <a:ext uri="{FF2B5EF4-FFF2-40B4-BE49-F238E27FC236}">
                <a16:creationId xmlns:a16="http://schemas.microsoft.com/office/drawing/2014/main" id="{54E00DE3-A99B-4266-8624-815E6AB7AC2C}"/>
              </a:ext>
            </a:extLst>
          </p:cNvPr>
          <p:cNvSpPr txBox="1"/>
          <p:nvPr/>
        </p:nvSpPr>
        <p:spPr>
          <a:xfrm>
            <a:off x="9540045" y="5379373"/>
            <a:ext cx="848000" cy="68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6133" b="0" i="0" u="none" strike="noStrike" kern="0" cap="none" spc="0" normalizeH="0" baseline="0" noProof="0" dirty="0">
                <a:ln>
                  <a:noFill/>
                </a:ln>
                <a:solidFill>
                  <a:srgbClr val="0D3787"/>
                </a:solidFill>
                <a:effectLst/>
                <a:uLnTx/>
                <a:uFillTx/>
                <a:cs typeface="+mn-ea"/>
                <a:sym typeface="+mn-lt"/>
              </a:rPr>
              <a:t>D</a:t>
            </a:r>
            <a:endParaRPr kumimoji="0" sz="6133" b="0" i="0" u="none" strike="noStrike" kern="0" cap="none" spc="0" normalizeH="0" baseline="0" noProof="0" dirty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8DC8EA9B-8736-45D9-8ABD-C8AEB0BB5467}"/>
              </a:ext>
            </a:extLst>
          </p:cNvPr>
          <p:cNvSpPr txBox="1"/>
          <p:nvPr/>
        </p:nvSpPr>
        <p:spPr>
          <a:xfrm>
            <a:off x="1575465" y="2297293"/>
            <a:ext cx="1482539" cy="19916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40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975C81FB-841B-43EF-BEF3-11B533292C6F}"/>
              </a:ext>
            </a:extLst>
          </p:cNvPr>
          <p:cNvSpPr txBox="1"/>
          <p:nvPr/>
        </p:nvSpPr>
        <p:spPr>
          <a:xfrm>
            <a:off x="4143882" y="2309972"/>
            <a:ext cx="1482539" cy="19916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41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D95D6B29-2C76-46B7-A57C-F481D998141B}"/>
              </a:ext>
            </a:extLst>
          </p:cNvPr>
          <p:cNvSpPr txBox="1"/>
          <p:nvPr/>
        </p:nvSpPr>
        <p:spPr>
          <a:xfrm>
            <a:off x="6673575" y="2309972"/>
            <a:ext cx="1482539" cy="19916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42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01D22ACA-20F1-4B8E-8974-975F3AB03529}"/>
              </a:ext>
            </a:extLst>
          </p:cNvPr>
          <p:cNvSpPr txBox="1"/>
          <p:nvPr/>
        </p:nvSpPr>
        <p:spPr>
          <a:xfrm>
            <a:off x="9222477" y="2234058"/>
            <a:ext cx="1482539" cy="19916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</p:spTree>
    <p:extLst>
      <p:ext uri="{BB962C8B-B14F-4D97-AF65-F5344CB8AC3E}">
        <p14:creationId xmlns:p14="http://schemas.microsoft.com/office/powerpoint/2010/main" val="2476380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41" grpId="0" animBg="1"/>
      <p:bldP spid="42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28E63E19-9671-481A-8343-113435A3EAC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  <a:ln>
            <a:noFill/>
          </a:ln>
        </p:spPr>
      </p:pic>
      <p:sp>
        <p:nvSpPr>
          <p:cNvPr id="6" name="文本框 5">
            <a:extLst>
              <a:ext uri="{FF2B5EF4-FFF2-40B4-BE49-F238E27FC236}">
                <a16:creationId xmlns:a16="http://schemas.microsoft.com/office/drawing/2014/main" id="{F69C38A1-4E52-4234-A7BE-F82C883D8A19}"/>
              </a:ext>
            </a:extLst>
          </p:cNvPr>
          <p:cNvSpPr txBox="1"/>
          <p:nvPr/>
        </p:nvSpPr>
        <p:spPr>
          <a:xfrm>
            <a:off x="5923460" y="2083500"/>
            <a:ext cx="451307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7200" b="1" i="1" dirty="0">
                <a:solidFill>
                  <a:srgbClr val="0D3787"/>
                </a:solidFill>
                <a:cs typeface="+mn-ea"/>
                <a:sym typeface="+mn-lt"/>
              </a:rPr>
              <a:t>THANKS</a:t>
            </a:r>
            <a:endParaRPr lang="zh-CN" altLang="en-US" sz="7200" b="1" i="1" dirty="0"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91DA1EC7-E500-45A6-B503-47FDDD19CF2D}"/>
              </a:ext>
            </a:extLst>
          </p:cNvPr>
          <p:cNvSpPr txBox="1"/>
          <p:nvPr/>
        </p:nvSpPr>
        <p:spPr>
          <a:xfrm>
            <a:off x="6259782" y="3334172"/>
            <a:ext cx="38404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2800" dirty="0">
                <a:solidFill>
                  <a:srgbClr val="0D3787"/>
                </a:solidFill>
                <a:cs typeface="+mn-ea"/>
                <a:sym typeface="+mn-lt"/>
              </a:rPr>
              <a:t>-Free PPT templates-</a:t>
            </a:r>
            <a:endParaRPr lang="zh-CN" altLang="en-US" sz="2800" dirty="0"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8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4A0A0689-0B1F-45B2-BE3D-3C0B8A70FCE0}"/>
              </a:ext>
            </a:extLst>
          </p:cNvPr>
          <p:cNvSpPr txBox="1"/>
          <p:nvPr/>
        </p:nvSpPr>
        <p:spPr>
          <a:xfrm>
            <a:off x="6349743" y="3881462"/>
            <a:ext cx="3463952" cy="5078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rgbClr val="0D3787"/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rgbClr val="0D3787"/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rgbClr val="0D3787"/>
                </a:solidFill>
                <a:cs typeface="+mn-ea"/>
                <a:sym typeface="+mn-lt"/>
              </a:rPr>
              <a:t> Synergistically utilize technically sound</a:t>
            </a:r>
          </a:p>
        </p:txBody>
      </p:sp>
      <p:sp>
        <p:nvSpPr>
          <p:cNvPr id="9" name="îṧ1ïḋé">
            <a:extLst>
              <a:ext uri="{FF2B5EF4-FFF2-40B4-BE49-F238E27FC236}">
                <a16:creationId xmlns:a16="http://schemas.microsoft.com/office/drawing/2014/main" id="{D113C268-ADFB-4909-8696-82BBFEED0CF8}"/>
              </a:ext>
            </a:extLst>
          </p:cNvPr>
          <p:cNvSpPr/>
          <p:nvPr/>
        </p:nvSpPr>
        <p:spPr>
          <a:xfrm>
            <a:off x="6296010" y="4877414"/>
            <a:ext cx="2001014" cy="3693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dist" defTabSz="914400"/>
            <a:r>
              <a:rPr lang="en-US" altLang="zh-CN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AF62A8DC-4BB6-4878-BDD9-218ED766CD50}"/>
              </a:ext>
            </a:extLst>
          </p:cNvPr>
          <p:cNvGrpSpPr/>
          <p:nvPr/>
        </p:nvGrpSpPr>
        <p:grpSpPr>
          <a:xfrm rot="5400000">
            <a:off x="4782369" y="927822"/>
            <a:ext cx="101370" cy="1330760"/>
            <a:chOff x="508216" y="2820579"/>
            <a:chExt cx="196770" cy="2583143"/>
          </a:xfrm>
          <a:solidFill>
            <a:srgbClr val="6C79BA"/>
          </a:solidFill>
        </p:grpSpPr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38A313E3-47EE-4791-BCDD-C2E4368DA3F3}"/>
                </a:ext>
              </a:extLst>
            </p:cNvPr>
            <p:cNvSpPr/>
            <p:nvPr/>
          </p:nvSpPr>
          <p:spPr>
            <a:xfrm>
              <a:off x="508217" y="2820579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215F0928-649A-446E-BBA5-AE15CD963E99}"/>
                </a:ext>
              </a:extLst>
            </p:cNvPr>
            <p:cNvCxnSpPr/>
            <p:nvPr/>
          </p:nvCxnSpPr>
          <p:spPr>
            <a:xfrm>
              <a:off x="606601" y="3222594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5AC3F212-4AC8-48CC-9CA3-C6773166BF3A}"/>
                </a:ext>
              </a:extLst>
            </p:cNvPr>
            <p:cNvSpPr/>
            <p:nvPr/>
          </p:nvSpPr>
          <p:spPr>
            <a:xfrm>
              <a:off x="508216" y="4013766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AC956244-FB94-403B-9504-3D52E98B26A2}"/>
                </a:ext>
              </a:extLst>
            </p:cNvPr>
            <p:cNvCxnSpPr/>
            <p:nvPr/>
          </p:nvCxnSpPr>
          <p:spPr>
            <a:xfrm>
              <a:off x="606600" y="4415781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E24508BF-391D-4D58-B96F-26E6CC67DD32}"/>
                </a:ext>
              </a:extLst>
            </p:cNvPr>
            <p:cNvSpPr/>
            <p:nvPr/>
          </p:nvSpPr>
          <p:spPr>
            <a:xfrm>
              <a:off x="508216" y="5206953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1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1658FE95-51F8-40A5-805B-C3E29930E391}"/>
              </a:ext>
            </a:extLst>
          </p:cNvPr>
          <p:cNvSpPr txBox="1"/>
          <p:nvPr/>
        </p:nvSpPr>
        <p:spPr>
          <a:xfrm>
            <a:off x="4179083" y="914787"/>
            <a:ext cx="1307939" cy="3991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600" kern="0" dirty="0">
                <a:solidFill>
                  <a:srgbClr val="6C79BA"/>
                </a:solidFill>
                <a:cs typeface="+mn-ea"/>
                <a:sym typeface="+mn-lt"/>
              </a:rPr>
              <a:t>Synergistically utilize technically sound portals with frictionless </a:t>
            </a:r>
            <a:r>
              <a:rPr sz="600" kern="0" dirty="0" err="1">
                <a:solidFill>
                  <a:srgbClr val="6C79BA"/>
                </a:solidFill>
                <a:cs typeface="+mn-ea"/>
                <a:sym typeface="+mn-lt"/>
              </a:rPr>
              <a:t>chains</a:t>
            </a:r>
            <a:r>
              <a:rPr lang="en-US" altLang="zh-CN" sz="600" kern="0" dirty="0" err="1">
                <a:solidFill>
                  <a:srgbClr val="6C79BA"/>
                </a:solidFill>
                <a:cs typeface="+mn-ea"/>
                <a:sym typeface="+mn-lt"/>
              </a:rPr>
              <a:t>Synergistically</a:t>
            </a:r>
            <a:endParaRPr lang="en-US" altLang="zh-CN" sz="600" kern="0" dirty="0">
              <a:solidFill>
                <a:srgbClr val="6C79BA"/>
              </a:solidFill>
              <a:cs typeface="+mn-ea"/>
              <a:sym typeface="+mn-lt"/>
            </a:endParaRP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2CE7B118-B269-46FE-87C5-AB5DF9FDEE7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4854" y="538553"/>
            <a:ext cx="5977074" cy="5780894"/>
          </a:xfrm>
          <a:prstGeom prst="rect">
            <a:avLst/>
          </a:prstGeom>
        </p:spPr>
      </p:pic>
      <p:sp>
        <p:nvSpPr>
          <p:cNvPr id="20" name="Google Shape;537;p25">
            <a:extLst>
              <a:ext uri="{FF2B5EF4-FFF2-40B4-BE49-F238E27FC236}">
                <a16:creationId xmlns:a16="http://schemas.microsoft.com/office/drawing/2014/main" id="{AE907F6A-D1DC-4825-9686-AC11DDB42F61}"/>
              </a:ext>
            </a:extLst>
          </p:cNvPr>
          <p:cNvSpPr/>
          <p:nvPr/>
        </p:nvSpPr>
        <p:spPr>
          <a:xfrm rot="9266724">
            <a:off x="11510398" y="4872706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22" name="Google Shape;537;p25">
            <a:extLst>
              <a:ext uri="{FF2B5EF4-FFF2-40B4-BE49-F238E27FC236}">
                <a16:creationId xmlns:a16="http://schemas.microsoft.com/office/drawing/2014/main" id="{3BE5EC7A-D551-4619-B0AB-E6FFFA539A6B}"/>
              </a:ext>
            </a:extLst>
          </p:cNvPr>
          <p:cNvSpPr/>
          <p:nvPr/>
        </p:nvSpPr>
        <p:spPr>
          <a:xfrm rot="9266724">
            <a:off x="11510399" y="5272345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24" name="Google Shape;537;p25">
            <a:extLst>
              <a:ext uri="{FF2B5EF4-FFF2-40B4-BE49-F238E27FC236}">
                <a16:creationId xmlns:a16="http://schemas.microsoft.com/office/drawing/2014/main" id="{35EC7CF4-6615-488F-B44A-5A86D8B2BD89}"/>
              </a:ext>
            </a:extLst>
          </p:cNvPr>
          <p:cNvSpPr/>
          <p:nvPr/>
        </p:nvSpPr>
        <p:spPr>
          <a:xfrm rot="9266724">
            <a:off x="11505336" y="5640490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3274D99A-E1D7-404A-9E45-06E145259B50}"/>
              </a:ext>
            </a:extLst>
          </p:cNvPr>
          <p:cNvSpPr/>
          <p:nvPr/>
        </p:nvSpPr>
        <p:spPr>
          <a:xfrm>
            <a:off x="9813695" y="779362"/>
            <a:ext cx="844901" cy="844901"/>
          </a:xfrm>
          <a:prstGeom prst="ellipse">
            <a:avLst/>
          </a:prstGeom>
          <a:solidFill>
            <a:srgbClr val="FDD6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DA25F0B2-5317-42A7-8835-92206551DA9C}"/>
              </a:ext>
            </a:extLst>
          </p:cNvPr>
          <p:cNvSpPr/>
          <p:nvPr/>
        </p:nvSpPr>
        <p:spPr>
          <a:xfrm>
            <a:off x="8898965" y="1502302"/>
            <a:ext cx="485569" cy="485569"/>
          </a:xfrm>
          <a:prstGeom prst="ellipse">
            <a:avLst/>
          </a:prstGeom>
          <a:solidFill>
            <a:srgbClr val="FDD6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56658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 animBg="1"/>
      <p:bldP spid="9" grpId="0" animBg="1"/>
      <p:bldP spid="16" grpId="0" animBg="1"/>
      <p:bldP spid="19" grpId="0" animBg="1"/>
      <p:bldP spid="2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C4335FAC-FD00-40C5-A6D8-206FEC2616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34ABA11-9DA7-4A30-B756-B4CDCA30681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4291" y="821802"/>
            <a:ext cx="5932025" cy="5932025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E20E13C6-DA20-4F75-87DC-6765B3CBCC1B}"/>
              </a:ext>
            </a:extLst>
          </p:cNvPr>
          <p:cNvSpPr txBox="1"/>
          <p:nvPr/>
        </p:nvSpPr>
        <p:spPr>
          <a:xfrm>
            <a:off x="1214548" y="3500829"/>
            <a:ext cx="39940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400" b="1" dirty="0">
                <a:solidFill>
                  <a:srgbClr val="0D3787"/>
                </a:solidFill>
                <a:cs typeface="+mn-ea"/>
                <a:sym typeface="+mn-lt"/>
              </a:rPr>
              <a:t>PART ONE</a:t>
            </a:r>
            <a:endParaRPr lang="zh-CN" altLang="en-US" sz="5400" b="1" dirty="0"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C7176937-2DCB-42A7-B005-E35BE77C9737}"/>
              </a:ext>
            </a:extLst>
          </p:cNvPr>
          <p:cNvSpPr txBox="1"/>
          <p:nvPr/>
        </p:nvSpPr>
        <p:spPr>
          <a:xfrm>
            <a:off x="1499049" y="4564873"/>
            <a:ext cx="2295615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rgbClr val="6C79BA"/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rgbClr val="6C79BA"/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rgbClr val="6C79BA"/>
                </a:solidFill>
                <a:cs typeface="+mn-ea"/>
                <a:sym typeface="+mn-lt"/>
              </a:rPr>
              <a:t> Synergistically utilize technically sound</a:t>
            </a:r>
          </a:p>
        </p:txBody>
      </p:sp>
      <p:sp>
        <p:nvSpPr>
          <p:cNvPr id="10" name="îṧ1ïḋé">
            <a:extLst>
              <a:ext uri="{FF2B5EF4-FFF2-40B4-BE49-F238E27FC236}">
                <a16:creationId xmlns:a16="http://schemas.microsoft.com/office/drawing/2014/main" id="{B5AA5A13-C86E-4C8D-892A-E7CB32ABCC28}"/>
              </a:ext>
            </a:extLst>
          </p:cNvPr>
          <p:cNvSpPr/>
          <p:nvPr/>
        </p:nvSpPr>
        <p:spPr>
          <a:xfrm>
            <a:off x="6290047" y="1778603"/>
            <a:ext cx="2001014" cy="3693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dist" defTabSz="914400"/>
            <a:r>
              <a:rPr lang="en-US" altLang="zh-CN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11" name="îṧ1ïḋé">
            <a:extLst>
              <a:ext uri="{FF2B5EF4-FFF2-40B4-BE49-F238E27FC236}">
                <a16:creationId xmlns:a16="http://schemas.microsoft.com/office/drawing/2014/main" id="{E2B097BA-B194-42C3-945F-386A7AFB144D}"/>
              </a:ext>
            </a:extLst>
          </p:cNvPr>
          <p:cNvSpPr/>
          <p:nvPr/>
        </p:nvSpPr>
        <p:spPr>
          <a:xfrm>
            <a:off x="669362" y="5894083"/>
            <a:ext cx="1402506" cy="369332"/>
          </a:xfrm>
          <a:prstGeom prst="roundRect">
            <a:avLst>
              <a:gd name="adj" fmla="val 50000"/>
            </a:avLst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dist" defTabSz="914400"/>
            <a:r>
              <a:rPr lang="en-US" altLang="zh-CN" sz="1050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17" name="Google Shape;537;p25">
            <a:extLst>
              <a:ext uri="{FF2B5EF4-FFF2-40B4-BE49-F238E27FC236}">
                <a16:creationId xmlns:a16="http://schemas.microsoft.com/office/drawing/2014/main" id="{1B5B09E6-268C-4B46-B540-347AB4A2DA78}"/>
              </a:ext>
            </a:extLst>
          </p:cNvPr>
          <p:cNvSpPr/>
          <p:nvPr/>
        </p:nvSpPr>
        <p:spPr>
          <a:xfrm rot="9266724">
            <a:off x="1040517" y="3729707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18" name="Google Shape;537;p25">
            <a:extLst>
              <a:ext uri="{FF2B5EF4-FFF2-40B4-BE49-F238E27FC236}">
                <a16:creationId xmlns:a16="http://schemas.microsoft.com/office/drawing/2014/main" id="{64B96D6A-0797-43A8-8899-A198C70273FF}"/>
              </a:ext>
            </a:extLst>
          </p:cNvPr>
          <p:cNvSpPr/>
          <p:nvPr/>
        </p:nvSpPr>
        <p:spPr>
          <a:xfrm rot="9266724">
            <a:off x="1040518" y="4129346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19" name="Google Shape;537;p25">
            <a:extLst>
              <a:ext uri="{FF2B5EF4-FFF2-40B4-BE49-F238E27FC236}">
                <a16:creationId xmlns:a16="http://schemas.microsoft.com/office/drawing/2014/main" id="{ED1E0558-0E69-4E53-AA22-626E687EFDF4}"/>
              </a:ext>
            </a:extLst>
          </p:cNvPr>
          <p:cNvSpPr/>
          <p:nvPr/>
        </p:nvSpPr>
        <p:spPr>
          <a:xfrm rot="9266724">
            <a:off x="1035455" y="4497491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1E3B8DD1-2F92-4F83-8407-FDB8D761047C}"/>
              </a:ext>
            </a:extLst>
          </p:cNvPr>
          <p:cNvGrpSpPr/>
          <p:nvPr/>
        </p:nvGrpSpPr>
        <p:grpSpPr>
          <a:xfrm rot="5400000">
            <a:off x="2021183" y="1062538"/>
            <a:ext cx="101370" cy="1330760"/>
            <a:chOff x="508216" y="2820579"/>
            <a:chExt cx="196770" cy="2583143"/>
          </a:xfrm>
          <a:solidFill>
            <a:srgbClr val="6C79BA"/>
          </a:solidFill>
        </p:grpSpPr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6DBCC032-C228-4F00-8BC9-6ABB576FCEF8}"/>
                </a:ext>
              </a:extLst>
            </p:cNvPr>
            <p:cNvSpPr/>
            <p:nvPr/>
          </p:nvSpPr>
          <p:spPr>
            <a:xfrm>
              <a:off x="508217" y="2820579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22" name="直接连接符 21">
              <a:extLst>
                <a:ext uri="{FF2B5EF4-FFF2-40B4-BE49-F238E27FC236}">
                  <a16:creationId xmlns:a16="http://schemas.microsoft.com/office/drawing/2014/main" id="{E4D16014-6217-45B2-BCF4-4920A867A4E0}"/>
                </a:ext>
              </a:extLst>
            </p:cNvPr>
            <p:cNvCxnSpPr/>
            <p:nvPr/>
          </p:nvCxnSpPr>
          <p:spPr>
            <a:xfrm>
              <a:off x="606601" y="3222594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C1AF9D28-6155-4F6A-B7ED-1E6CEAA00082}"/>
                </a:ext>
              </a:extLst>
            </p:cNvPr>
            <p:cNvSpPr/>
            <p:nvPr/>
          </p:nvSpPr>
          <p:spPr>
            <a:xfrm>
              <a:off x="508216" y="4013766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24" name="直接连接符 23">
              <a:extLst>
                <a:ext uri="{FF2B5EF4-FFF2-40B4-BE49-F238E27FC236}">
                  <a16:creationId xmlns:a16="http://schemas.microsoft.com/office/drawing/2014/main" id="{E8474D1B-8FBF-46CF-A281-929109FC8004}"/>
                </a:ext>
              </a:extLst>
            </p:cNvPr>
            <p:cNvCxnSpPr/>
            <p:nvPr/>
          </p:nvCxnSpPr>
          <p:spPr>
            <a:xfrm>
              <a:off x="606600" y="4415781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椭圆 24">
              <a:extLst>
                <a:ext uri="{FF2B5EF4-FFF2-40B4-BE49-F238E27FC236}">
                  <a16:creationId xmlns:a16="http://schemas.microsoft.com/office/drawing/2014/main" id="{26D179B6-2BD4-4139-BD98-D13AAE8269DB}"/>
                </a:ext>
              </a:extLst>
            </p:cNvPr>
            <p:cNvSpPr/>
            <p:nvPr/>
          </p:nvSpPr>
          <p:spPr>
            <a:xfrm>
              <a:off x="508216" y="5206953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2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D572736F-DD32-4722-A86F-D5529A5B60F6}"/>
              </a:ext>
            </a:extLst>
          </p:cNvPr>
          <p:cNvSpPr txBox="1"/>
          <p:nvPr/>
        </p:nvSpPr>
        <p:spPr>
          <a:xfrm>
            <a:off x="1417897" y="1049503"/>
            <a:ext cx="1307939" cy="3991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600" kern="0" dirty="0">
                <a:solidFill>
                  <a:srgbClr val="6C79BA"/>
                </a:solidFill>
                <a:cs typeface="+mn-ea"/>
                <a:sym typeface="+mn-lt"/>
              </a:rPr>
              <a:t>Synergistically utilize technically sound portals with frictionless </a:t>
            </a:r>
            <a:r>
              <a:rPr sz="600" kern="0" dirty="0" err="1">
                <a:solidFill>
                  <a:srgbClr val="6C79BA"/>
                </a:solidFill>
                <a:cs typeface="+mn-ea"/>
                <a:sym typeface="+mn-lt"/>
              </a:rPr>
              <a:t>chains</a:t>
            </a:r>
            <a:r>
              <a:rPr lang="en-US" altLang="zh-CN" sz="600" kern="0" dirty="0" err="1">
                <a:solidFill>
                  <a:srgbClr val="6C79BA"/>
                </a:solidFill>
                <a:cs typeface="+mn-ea"/>
                <a:sym typeface="+mn-lt"/>
              </a:rPr>
              <a:t>Synergistically</a:t>
            </a:r>
            <a:endParaRPr lang="en-US" altLang="zh-CN" sz="600" kern="0" dirty="0">
              <a:solidFill>
                <a:srgbClr val="6C79BA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376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  <p:bldP spid="11" grpId="0"/>
      <p:bldP spid="2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Freeform: Shape 67">
            <a:extLst>
              <a:ext uri="{FF2B5EF4-FFF2-40B4-BE49-F238E27FC236}">
                <a16:creationId xmlns:a16="http://schemas.microsoft.com/office/drawing/2014/main" id="{23F0C8A8-EBAB-4071-851C-3BBEB54BBBC4}"/>
              </a:ext>
            </a:extLst>
          </p:cNvPr>
          <p:cNvSpPr/>
          <p:nvPr/>
        </p:nvSpPr>
        <p:spPr>
          <a:xfrm>
            <a:off x="-1" y="0"/>
            <a:ext cx="3412395" cy="3793211"/>
          </a:xfrm>
          <a:custGeom>
            <a:avLst/>
            <a:gdLst>
              <a:gd name="connsiteX0" fmla="*/ 0 w 5554878"/>
              <a:gd name="connsiteY0" fmla="*/ 0 h 6174790"/>
              <a:gd name="connsiteX1" fmla="*/ 5436215 w 5554878"/>
              <a:gd name="connsiteY1" fmla="*/ 0 h 6174790"/>
              <a:gd name="connsiteX2" fmla="*/ 5488907 w 5554878"/>
              <a:gd name="connsiteY2" fmla="*/ 59383 h 6174790"/>
              <a:gd name="connsiteX3" fmla="*/ 5397500 w 5554878"/>
              <a:gd name="connsiteY3" fmla="*/ 533400 h 6174790"/>
              <a:gd name="connsiteX4" fmla="*/ 2044700 w 5554878"/>
              <a:gd name="connsiteY4" fmla="*/ 1943100 h 6174790"/>
              <a:gd name="connsiteX5" fmla="*/ 825500 w 5554878"/>
              <a:gd name="connsiteY5" fmla="*/ 3340100 h 6174790"/>
              <a:gd name="connsiteX6" fmla="*/ 723900 w 5554878"/>
              <a:gd name="connsiteY6" fmla="*/ 5702300 h 6174790"/>
              <a:gd name="connsiteX7" fmla="*/ 165100 w 5554878"/>
              <a:gd name="connsiteY7" fmla="*/ 6134894 h 6174790"/>
              <a:gd name="connsiteX8" fmla="*/ 0 w 5554878"/>
              <a:gd name="connsiteY8" fmla="*/ 6174790 h 6174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554878" h="6174790">
                <a:moveTo>
                  <a:pt x="0" y="0"/>
                </a:moveTo>
                <a:lnTo>
                  <a:pt x="5436215" y="0"/>
                </a:lnTo>
                <a:lnTo>
                  <a:pt x="5488907" y="59383"/>
                </a:lnTo>
                <a:cubicBezTo>
                  <a:pt x="5596947" y="203208"/>
                  <a:pt x="5576226" y="358378"/>
                  <a:pt x="5397500" y="533400"/>
                </a:cubicBezTo>
                <a:cubicBezTo>
                  <a:pt x="4988983" y="933450"/>
                  <a:pt x="2806700" y="1475317"/>
                  <a:pt x="2044700" y="1943100"/>
                </a:cubicBezTo>
                <a:cubicBezTo>
                  <a:pt x="1282700" y="2410883"/>
                  <a:pt x="1045633" y="2713567"/>
                  <a:pt x="825500" y="3340100"/>
                </a:cubicBezTo>
                <a:cubicBezTo>
                  <a:pt x="605367" y="3966633"/>
                  <a:pt x="924983" y="5221817"/>
                  <a:pt x="723900" y="5702300"/>
                </a:cubicBezTo>
                <a:cubicBezTo>
                  <a:pt x="623359" y="5942542"/>
                  <a:pt x="393171" y="6067425"/>
                  <a:pt x="165100" y="6134894"/>
                </a:cubicBezTo>
                <a:lnTo>
                  <a:pt x="0" y="617479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457200" algn="ctr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cs typeface="+mn-ea"/>
              <a:sym typeface="+mn-lt"/>
            </a:endParaRPr>
          </a:p>
        </p:txBody>
      </p:sp>
      <p:sp>
        <p:nvSpPr>
          <p:cNvPr id="50" name="Rectangle: Top Corners Rounded 49">
            <a:extLst>
              <a:ext uri="{FF2B5EF4-FFF2-40B4-BE49-F238E27FC236}">
                <a16:creationId xmlns:a16="http://schemas.microsoft.com/office/drawing/2014/main" id="{658CCB48-EFFD-42D9-BF6A-280EA5D8DA0F}"/>
              </a:ext>
            </a:extLst>
          </p:cNvPr>
          <p:cNvSpPr/>
          <p:nvPr/>
        </p:nvSpPr>
        <p:spPr>
          <a:xfrm rot="16200000">
            <a:off x="4578816" y="-1250490"/>
            <a:ext cx="4496852" cy="10729525"/>
          </a:xfrm>
          <a:prstGeom prst="round2SameRect">
            <a:avLst>
              <a:gd name="adj1" fmla="val 4465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65F0BC-0A5E-4161-BF7D-AC055EABC39D}"/>
              </a:ext>
            </a:extLst>
          </p:cNvPr>
          <p:cNvSpPr txBox="1"/>
          <p:nvPr/>
        </p:nvSpPr>
        <p:spPr>
          <a:xfrm>
            <a:off x="533402" y="492718"/>
            <a:ext cx="882648" cy="6608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>
              <a:latin typeface="+mn-lt"/>
              <a:cs typeface="+mn-ea"/>
              <a:sym typeface="+mn-lt"/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F00AE12C-A10C-41C1-8465-D0A4833058B8}"/>
              </a:ext>
            </a:extLst>
          </p:cNvPr>
          <p:cNvSpPr/>
          <p:nvPr/>
        </p:nvSpPr>
        <p:spPr>
          <a:xfrm>
            <a:off x="6099994" y="0"/>
            <a:ext cx="6092007" cy="6858000"/>
          </a:xfrm>
          <a:custGeom>
            <a:avLst/>
            <a:gdLst>
              <a:gd name="connsiteX0" fmla="*/ 5003986 w 6092007"/>
              <a:gd name="connsiteY0" fmla="*/ 0 h 6858000"/>
              <a:gd name="connsiteX1" fmla="*/ 6092007 w 6092007"/>
              <a:gd name="connsiteY1" fmla="*/ 0 h 6858000"/>
              <a:gd name="connsiteX2" fmla="*/ 6092007 w 6092007"/>
              <a:gd name="connsiteY2" fmla="*/ 6858000 h 6858000"/>
              <a:gd name="connsiteX3" fmla="*/ 39671 w 6092007"/>
              <a:gd name="connsiteY3" fmla="*/ 6858000 h 6858000"/>
              <a:gd name="connsiteX4" fmla="*/ 33397 w 6092007"/>
              <a:gd name="connsiteY4" fmla="*/ 6834415 h 6858000"/>
              <a:gd name="connsiteX5" fmla="*/ 360875 w 6092007"/>
              <a:gd name="connsiteY5" fmla="*/ 5776687 h 6858000"/>
              <a:gd name="connsiteX6" fmla="*/ 4802246 w 6092007"/>
              <a:gd name="connsiteY6" fmla="*/ 3773715 h 6858000"/>
              <a:gd name="connsiteX7" fmla="*/ 5002553 w 6092007"/>
              <a:gd name="connsiteY7" fmla="*/ 682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2007" h="6858000">
                <a:moveTo>
                  <a:pt x="5003986" y="0"/>
                </a:moveTo>
                <a:lnTo>
                  <a:pt x="6092007" y="0"/>
                </a:lnTo>
                <a:lnTo>
                  <a:pt x="6092007" y="6858000"/>
                </a:lnTo>
                <a:lnTo>
                  <a:pt x="39671" y="6858000"/>
                </a:lnTo>
                <a:lnTo>
                  <a:pt x="33397" y="6834415"/>
                </a:lnTo>
                <a:cubicBezTo>
                  <a:pt x="-44920" y="6484258"/>
                  <a:pt x="-4401" y="6105677"/>
                  <a:pt x="360875" y="5776687"/>
                </a:cubicBezTo>
                <a:cubicBezTo>
                  <a:pt x="1091427" y="5118705"/>
                  <a:pt x="4023313" y="4760686"/>
                  <a:pt x="4802246" y="3773715"/>
                </a:cubicBezTo>
                <a:cubicBezTo>
                  <a:pt x="5532496" y="2848429"/>
                  <a:pt x="4895653" y="847328"/>
                  <a:pt x="5002553" y="6821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9C3BCDD-8DB4-44E3-9ABE-0B8A33955C4E}"/>
              </a:ext>
            </a:extLst>
          </p:cNvPr>
          <p:cNvSpPr txBox="1"/>
          <p:nvPr/>
        </p:nvSpPr>
        <p:spPr>
          <a:xfrm>
            <a:off x="1105295" y="2472720"/>
            <a:ext cx="689084" cy="689084"/>
          </a:xfrm>
          <a:prstGeom prst="ellipse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>
              <a:latin typeface="+mn-lt"/>
              <a:cs typeface="+mn-ea"/>
              <a:sym typeface="+mn-lt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308D527-A254-45FE-8589-A0C5C39ECD62}"/>
              </a:ext>
            </a:extLst>
          </p:cNvPr>
          <p:cNvSpPr txBox="1"/>
          <p:nvPr/>
        </p:nvSpPr>
        <p:spPr>
          <a:xfrm>
            <a:off x="1105295" y="3769730"/>
            <a:ext cx="689084" cy="689084"/>
          </a:xfrm>
          <a:prstGeom prst="ellipse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>
              <a:latin typeface="+mn-lt"/>
              <a:cs typeface="+mn-ea"/>
              <a:sym typeface="+mn-lt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452D9CC6-5EFC-400C-BA97-68B79F1FAB85}"/>
              </a:ext>
            </a:extLst>
          </p:cNvPr>
          <p:cNvSpPr txBox="1"/>
          <p:nvPr/>
        </p:nvSpPr>
        <p:spPr>
          <a:xfrm>
            <a:off x="1105295" y="5066741"/>
            <a:ext cx="689084" cy="689084"/>
          </a:xfrm>
          <a:prstGeom prst="ellipse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>
              <a:latin typeface="+mn-lt"/>
              <a:cs typeface="+mn-ea"/>
              <a:sym typeface="+mn-lt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5534F332-C2D2-4FCA-BCF9-C83B6780EAF1}"/>
              </a:ext>
            </a:extLst>
          </p:cNvPr>
          <p:cNvSpPr txBox="1"/>
          <p:nvPr/>
        </p:nvSpPr>
        <p:spPr>
          <a:xfrm rot="13500000">
            <a:off x="958034" y="2312819"/>
            <a:ext cx="1008887" cy="1008887"/>
          </a:xfrm>
          <a:prstGeom prst="arc">
            <a:avLst/>
          </a:prstGeom>
          <a:noFill/>
          <a:ln w="25400" cap="rnd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4A2DE13-B985-4380-98F2-2AC474F46D60}"/>
              </a:ext>
            </a:extLst>
          </p:cNvPr>
          <p:cNvSpPr txBox="1"/>
          <p:nvPr/>
        </p:nvSpPr>
        <p:spPr>
          <a:xfrm rot="13500000">
            <a:off x="958034" y="3609829"/>
            <a:ext cx="1008887" cy="1008887"/>
          </a:xfrm>
          <a:prstGeom prst="arc">
            <a:avLst/>
          </a:prstGeom>
          <a:noFill/>
          <a:ln w="25400" cap="rnd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EEC283E2-BCD1-4368-97B8-BBEDC8AD12AA}"/>
              </a:ext>
            </a:extLst>
          </p:cNvPr>
          <p:cNvSpPr txBox="1"/>
          <p:nvPr/>
        </p:nvSpPr>
        <p:spPr>
          <a:xfrm rot="13500000">
            <a:off x="958034" y="4906840"/>
            <a:ext cx="1008887" cy="1008887"/>
          </a:xfrm>
          <a:prstGeom prst="arc">
            <a:avLst/>
          </a:prstGeom>
          <a:noFill/>
          <a:ln w="25400" cap="rnd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cs typeface="+mn-ea"/>
              <a:sym typeface="+mn-lt"/>
            </a:endParaRPr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77A9DF55-6FC7-4D28-AA78-0E0A565BACE8}"/>
              </a:ext>
            </a:extLst>
          </p:cNvPr>
          <p:cNvGrpSpPr/>
          <p:nvPr/>
        </p:nvGrpSpPr>
        <p:grpSpPr>
          <a:xfrm flipH="1">
            <a:off x="6450389" y="798548"/>
            <a:ext cx="1065469" cy="767411"/>
            <a:chOff x="9631490" y="336605"/>
            <a:chExt cx="1065469" cy="767411"/>
          </a:xfrm>
          <a:solidFill>
            <a:srgbClr val="FDD64F"/>
          </a:solidFill>
        </p:grpSpPr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C6B58C95-642B-4A6B-9665-BF2F065EA4F4}"/>
                </a:ext>
              </a:extLst>
            </p:cNvPr>
            <p:cNvSpPr/>
            <p:nvPr/>
          </p:nvSpPr>
          <p:spPr>
            <a:xfrm>
              <a:off x="10009632" y="649730"/>
              <a:ext cx="687327" cy="454286"/>
            </a:xfrm>
            <a:custGeom>
              <a:avLst/>
              <a:gdLst>
                <a:gd name="connsiteX0" fmla="*/ 555974 w 856933"/>
                <a:gd name="connsiteY0" fmla="*/ 32858 h 566386"/>
                <a:gd name="connsiteX1" fmla="*/ 7334 w 856933"/>
                <a:gd name="connsiteY1" fmla="*/ 252314 h 566386"/>
                <a:gd name="connsiteX2" fmla="*/ 275558 w 856933"/>
                <a:gd name="connsiteY2" fmla="*/ 557114 h 566386"/>
                <a:gd name="connsiteX3" fmla="*/ 775430 w 856933"/>
                <a:gd name="connsiteY3" fmla="*/ 447386 h 566386"/>
                <a:gd name="connsiteX4" fmla="*/ 836390 w 856933"/>
                <a:gd name="connsiteY4" fmla="*/ 45050 h 566386"/>
                <a:gd name="connsiteX5" fmla="*/ 555974 w 856933"/>
                <a:gd name="connsiteY5" fmla="*/ 32858 h 566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6933" h="566386">
                  <a:moveTo>
                    <a:pt x="555974" y="32858"/>
                  </a:moveTo>
                  <a:cubicBezTo>
                    <a:pt x="417798" y="67402"/>
                    <a:pt x="54070" y="164938"/>
                    <a:pt x="7334" y="252314"/>
                  </a:cubicBezTo>
                  <a:cubicBezTo>
                    <a:pt x="-39402" y="339690"/>
                    <a:pt x="147542" y="524602"/>
                    <a:pt x="275558" y="557114"/>
                  </a:cubicBezTo>
                  <a:cubicBezTo>
                    <a:pt x="403574" y="589626"/>
                    <a:pt x="681958" y="532730"/>
                    <a:pt x="775430" y="447386"/>
                  </a:cubicBezTo>
                  <a:cubicBezTo>
                    <a:pt x="868902" y="362042"/>
                    <a:pt x="870934" y="114138"/>
                    <a:pt x="836390" y="45050"/>
                  </a:cubicBezTo>
                  <a:cubicBezTo>
                    <a:pt x="801846" y="-24038"/>
                    <a:pt x="694150" y="-1686"/>
                    <a:pt x="555974" y="3285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28849551-1E20-4DF5-A99D-68D4B87801C0}"/>
                </a:ext>
              </a:extLst>
            </p:cNvPr>
            <p:cNvSpPr/>
            <p:nvPr/>
          </p:nvSpPr>
          <p:spPr>
            <a:xfrm>
              <a:off x="9631490" y="336605"/>
              <a:ext cx="276931" cy="336146"/>
            </a:xfrm>
            <a:custGeom>
              <a:avLst/>
              <a:gdLst>
                <a:gd name="connsiteX0" fmla="*/ 43401 w 276931"/>
                <a:gd name="connsiteY0" fmla="*/ 56920 h 336146"/>
                <a:gd name="connsiteX1" fmla="*/ 6825 w 276931"/>
                <a:gd name="connsiteY1" fmla="*/ 288568 h 336146"/>
                <a:gd name="connsiteX2" fmla="*/ 128745 w 276931"/>
                <a:gd name="connsiteY2" fmla="*/ 312952 h 336146"/>
                <a:gd name="connsiteX3" fmla="*/ 275049 w 276931"/>
                <a:gd name="connsiteY3" fmla="*/ 20344 h 336146"/>
                <a:gd name="connsiteX4" fmla="*/ 43401 w 276931"/>
                <a:gd name="connsiteY4" fmla="*/ 56920 h 336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931" h="336146">
                  <a:moveTo>
                    <a:pt x="43401" y="56920"/>
                  </a:moveTo>
                  <a:cubicBezTo>
                    <a:pt x="-1303" y="101624"/>
                    <a:pt x="-7399" y="245896"/>
                    <a:pt x="6825" y="288568"/>
                  </a:cubicBezTo>
                  <a:cubicBezTo>
                    <a:pt x="21049" y="331240"/>
                    <a:pt x="84041" y="357656"/>
                    <a:pt x="128745" y="312952"/>
                  </a:cubicBezTo>
                  <a:cubicBezTo>
                    <a:pt x="173449" y="268248"/>
                    <a:pt x="293337" y="65048"/>
                    <a:pt x="275049" y="20344"/>
                  </a:cubicBezTo>
                  <a:cubicBezTo>
                    <a:pt x="256761" y="-24360"/>
                    <a:pt x="88105" y="12216"/>
                    <a:pt x="43401" y="5692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6292E6CF-0991-4E47-AA76-B998471632E9}"/>
              </a:ext>
            </a:extLst>
          </p:cNvPr>
          <p:cNvGrpSpPr/>
          <p:nvPr/>
        </p:nvGrpSpPr>
        <p:grpSpPr>
          <a:xfrm>
            <a:off x="1322043" y="2642637"/>
            <a:ext cx="255588" cy="349250"/>
            <a:chOff x="1322043" y="2642637"/>
            <a:chExt cx="255588" cy="349250"/>
          </a:xfrm>
        </p:grpSpPr>
        <p:sp>
          <p:nvSpPr>
            <p:cNvPr id="87" name="Freeform 48">
              <a:extLst>
                <a:ext uri="{FF2B5EF4-FFF2-40B4-BE49-F238E27FC236}">
                  <a16:creationId xmlns:a16="http://schemas.microsoft.com/office/drawing/2014/main" id="{A74D61B7-5BD5-4BD7-B2AA-D82A0534E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2043" y="2642637"/>
              <a:ext cx="255588" cy="349250"/>
            </a:xfrm>
            <a:custGeom>
              <a:avLst/>
              <a:gdLst>
                <a:gd name="T0" fmla="*/ 68 w 68"/>
                <a:gd name="T1" fmla="*/ 84 h 92"/>
                <a:gd name="T2" fmla="*/ 60 w 68"/>
                <a:gd name="T3" fmla="*/ 92 h 92"/>
                <a:gd name="T4" fmla="*/ 8 w 68"/>
                <a:gd name="T5" fmla="*/ 92 h 92"/>
                <a:gd name="T6" fmla="*/ 0 w 68"/>
                <a:gd name="T7" fmla="*/ 84 h 92"/>
                <a:gd name="T8" fmla="*/ 0 w 68"/>
                <a:gd name="T9" fmla="*/ 8 h 92"/>
                <a:gd name="T10" fmla="*/ 8 w 68"/>
                <a:gd name="T11" fmla="*/ 0 h 92"/>
                <a:gd name="T12" fmla="*/ 60 w 68"/>
                <a:gd name="T13" fmla="*/ 0 h 92"/>
                <a:gd name="T14" fmla="*/ 68 w 68"/>
                <a:gd name="T15" fmla="*/ 8 h 92"/>
                <a:gd name="T16" fmla="*/ 68 w 68"/>
                <a:gd name="T17" fmla="*/ 8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92">
                  <a:moveTo>
                    <a:pt x="68" y="84"/>
                  </a:moveTo>
                  <a:cubicBezTo>
                    <a:pt x="68" y="88"/>
                    <a:pt x="64" y="92"/>
                    <a:pt x="60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4" y="92"/>
                    <a:pt x="0" y="88"/>
                    <a:pt x="0" y="84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4" y="0"/>
                    <a:pt x="68" y="4"/>
                    <a:pt x="68" y="8"/>
                  </a:cubicBezTo>
                  <a:lnTo>
                    <a:pt x="68" y="84"/>
                  </a:lnTo>
                  <a:close/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88" name="Rectangle 49">
              <a:extLst>
                <a:ext uri="{FF2B5EF4-FFF2-40B4-BE49-F238E27FC236}">
                  <a16:creationId xmlns:a16="http://schemas.microsoft.com/office/drawing/2014/main" id="{1DDDF977-8BD7-4F36-9FA1-15842252A3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2206" y="2688674"/>
              <a:ext cx="195263" cy="241300"/>
            </a:xfrm>
            <a:prstGeom prst="rect">
              <a:avLst/>
            </a:pr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89" name="Oval 50">
              <a:extLst>
                <a:ext uri="{FF2B5EF4-FFF2-40B4-BE49-F238E27FC236}">
                  <a16:creationId xmlns:a16="http://schemas.microsoft.com/office/drawing/2014/main" id="{EA4C9BD5-4D6D-49C1-A9C8-88F2EA5DF2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2693" y="2656924"/>
              <a:ext cx="14288" cy="15875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90" name="Rectangle 51">
              <a:extLst>
                <a:ext uri="{FF2B5EF4-FFF2-40B4-BE49-F238E27FC236}">
                  <a16:creationId xmlns:a16="http://schemas.microsoft.com/office/drawing/2014/main" id="{2D117C22-7631-49F8-9299-685B0BAC1A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243" y="2733124"/>
              <a:ext cx="14288" cy="15875"/>
            </a:xfrm>
            <a:prstGeom prst="rect">
              <a:avLst/>
            </a:prstGeom>
            <a:solidFill>
              <a:schemeClr val="bg1"/>
            </a:solidFill>
            <a:ln w="14288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91" name="Rectangle 52">
              <a:extLst>
                <a:ext uri="{FF2B5EF4-FFF2-40B4-BE49-F238E27FC236}">
                  <a16:creationId xmlns:a16="http://schemas.microsoft.com/office/drawing/2014/main" id="{77063E77-D4F1-4D78-AC1B-28006DF1DC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2693" y="2733124"/>
              <a:ext cx="14288" cy="15875"/>
            </a:xfrm>
            <a:prstGeom prst="rect">
              <a:avLst/>
            </a:prstGeom>
            <a:solidFill>
              <a:schemeClr val="bg1"/>
            </a:solidFill>
            <a:ln w="14288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92" name="Rectangle 53">
              <a:extLst>
                <a:ext uri="{FF2B5EF4-FFF2-40B4-BE49-F238E27FC236}">
                  <a16:creationId xmlns:a16="http://schemas.microsoft.com/office/drawing/2014/main" id="{E3DF6B9A-D38C-4EBC-A8D8-A3D6133889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7143" y="2733124"/>
              <a:ext cx="15875" cy="15875"/>
            </a:xfrm>
            <a:prstGeom prst="rect">
              <a:avLst/>
            </a:prstGeom>
            <a:solidFill>
              <a:schemeClr val="bg1"/>
            </a:solidFill>
            <a:ln w="14288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93" name="Rectangle 54">
              <a:extLst>
                <a:ext uri="{FF2B5EF4-FFF2-40B4-BE49-F238E27FC236}">
                  <a16:creationId xmlns:a16="http://schemas.microsoft.com/office/drawing/2014/main" id="{4D2468BC-BE6E-4CB2-AF1E-EE53E9AD5F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243" y="2779162"/>
              <a:ext cx="14288" cy="14288"/>
            </a:xfrm>
            <a:prstGeom prst="rect">
              <a:avLst/>
            </a:prstGeom>
            <a:solidFill>
              <a:schemeClr val="bg1"/>
            </a:solidFill>
            <a:ln w="14288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94" name="Rectangle 55">
              <a:extLst>
                <a:ext uri="{FF2B5EF4-FFF2-40B4-BE49-F238E27FC236}">
                  <a16:creationId xmlns:a16="http://schemas.microsoft.com/office/drawing/2014/main" id="{4C0BF5F4-0F53-46D5-ACFD-123AD03F66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2693" y="2779162"/>
              <a:ext cx="14288" cy="14288"/>
            </a:xfrm>
            <a:prstGeom prst="rect">
              <a:avLst/>
            </a:prstGeom>
            <a:solidFill>
              <a:schemeClr val="bg1"/>
            </a:solidFill>
            <a:ln w="14288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95" name="Rectangle 56">
              <a:extLst>
                <a:ext uri="{FF2B5EF4-FFF2-40B4-BE49-F238E27FC236}">
                  <a16:creationId xmlns:a16="http://schemas.microsoft.com/office/drawing/2014/main" id="{151373DB-9C10-48C3-B555-E620E051D2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7143" y="2779162"/>
              <a:ext cx="15875" cy="14288"/>
            </a:xfrm>
            <a:prstGeom prst="rect">
              <a:avLst/>
            </a:prstGeom>
            <a:solidFill>
              <a:schemeClr val="bg1"/>
            </a:solidFill>
            <a:ln w="14288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96" name="Rectangle 57">
              <a:extLst>
                <a:ext uri="{FF2B5EF4-FFF2-40B4-BE49-F238E27FC236}">
                  <a16:creationId xmlns:a16="http://schemas.microsoft.com/office/drawing/2014/main" id="{89A8A56B-DAC6-4E3A-B746-8B928A7C21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8243" y="2825199"/>
              <a:ext cx="14288" cy="14288"/>
            </a:xfrm>
            <a:prstGeom prst="rect">
              <a:avLst/>
            </a:prstGeom>
            <a:solidFill>
              <a:schemeClr val="bg1"/>
            </a:solidFill>
            <a:ln w="14288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97" name="Rectangle 58">
              <a:extLst>
                <a:ext uri="{FF2B5EF4-FFF2-40B4-BE49-F238E27FC236}">
                  <a16:creationId xmlns:a16="http://schemas.microsoft.com/office/drawing/2014/main" id="{EC835B6C-DC0D-484D-A817-839C1453F7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2693" y="2825199"/>
              <a:ext cx="14288" cy="14288"/>
            </a:xfrm>
            <a:prstGeom prst="rect">
              <a:avLst/>
            </a:prstGeom>
            <a:solidFill>
              <a:schemeClr val="bg1"/>
            </a:solidFill>
            <a:ln w="14288" cap="rnd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98" name="Freeform 59">
              <a:extLst>
                <a:ext uri="{FF2B5EF4-FFF2-40B4-BE49-F238E27FC236}">
                  <a16:creationId xmlns:a16="http://schemas.microsoft.com/office/drawing/2014/main" id="{E9ACD393-1D42-4443-82C0-BCD1A4566D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2693" y="2953787"/>
              <a:ext cx="14288" cy="14288"/>
            </a:xfrm>
            <a:custGeom>
              <a:avLst/>
              <a:gdLst>
                <a:gd name="T0" fmla="*/ 4 w 4"/>
                <a:gd name="T1" fmla="*/ 2 h 4"/>
                <a:gd name="T2" fmla="*/ 2 w 4"/>
                <a:gd name="T3" fmla="*/ 4 h 4"/>
                <a:gd name="T4" fmla="*/ 2 w 4"/>
                <a:gd name="T5" fmla="*/ 4 h 4"/>
                <a:gd name="T6" fmla="*/ 0 w 4"/>
                <a:gd name="T7" fmla="*/ 2 h 4"/>
                <a:gd name="T8" fmla="*/ 0 w 4"/>
                <a:gd name="T9" fmla="*/ 2 h 4"/>
                <a:gd name="T10" fmla="*/ 2 w 4"/>
                <a:gd name="T11" fmla="*/ 0 h 4"/>
                <a:gd name="T12" fmla="*/ 2 w 4"/>
                <a:gd name="T13" fmla="*/ 0 h 4"/>
                <a:gd name="T14" fmla="*/ 4 w 4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4" y="3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lose/>
                </a:path>
              </a:pathLst>
            </a:custGeom>
            <a:solidFill>
              <a:schemeClr val="bg1"/>
            </a:solidFill>
            <a:ln w="14288" cap="flat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C7E03998-2646-4794-BF88-9C945E3AD241}"/>
              </a:ext>
            </a:extLst>
          </p:cNvPr>
          <p:cNvGrpSpPr/>
          <p:nvPr/>
        </p:nvGrpSpPr>
        <p:grpSpPr>
          <a:xfrm>
            <a:off x="1322043" y="5230308"/>
            <a:ext cx="255588" cy="361950"/>
            <a:chOff x="2730500" y="3248025"/>
            <a:chExt cx="255588" cy="361950"/>
          </a:xfrm>
          <a:solidFill>
            <a:schemeClr val="bg1"/>
          </a:solidFill>
        </p:grpSpPr>
        <p:sp>
          <p:nvSpPr>
            <p:cNvPr id="100" name="Freeform 859">
              <a:extLst>
                <a:ext uri="{FF2B5EF4-FFF2-40B4-BE49-F238E27FC236}">
                  <a16:creationId xmlns:a16="http://schemas.microsoft.com/office/drawing/2014/main" id="{51752A75-7677-425B-B8A9-91585B7514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0500" y="3248025"/>
              <a:ext cx="255588" cy="361950"/>
            </a:xfrm>
            <a:custGeom>
              <a:avLst/>
              <a:gdLst>
                <a:gd name="T0" fmla="*/ 66 w 68"/>
                <a:gd name="T1" fmla="*/ 96 h 96"/>
                <a:gd name="T2" fmla="*/ 65 w 68"/>
                <a:gd name="T3" fmla="*/ 95 h 96"/>
                <a:gd name="T4" fmla="*/ 58 w 68"/>
                <a:gd name="T5" fmla="*/ 89 h 96"/>
                <a:gd name="T6" fmla="*/ 51 w 68"/>
                <a:gd name="T7" fmla="*/ 95 h 96"/>
                <a:gd name="T8" fmla="*/ 49 w 68"/>
                <a:gd name="T9" fmla="*/ 95 h 96"/>
                <a:gd name="T10" fmla="*/ 42 w 68"/>
                <a:gd name="T11" fmla="*/ 89 h 96"/>
                <a:gd name="T12" fmla="*/ 35 w 68"/>
                <a:gd name="T13" fmla="*/ 95 h 96"/>
                <a:gd name="T14" fmla="*/ 33 w 68"/>
                <a:gd name="T15" fmla="*/ 95 h 96"/>
                <a:gd name="T16" fmla="*/ 26 w 68"/>
                <a:gd name="T17" fmla="*/ 89 h 96"/>
                <a:gd name="T18" fmla="*/ 19 w 68"/>
                <a:gd name="T19" fmla="*/ 95 h 96"/>
                <a:gd name="T20" fmla="*/ 17 w 68"/>
                <a:gd name="T21" fmla="*/ 95 h 96"/>
                <a:gd name="T22" fmla="*/ 10 w 68"/>
                <a:gd name="T23" fmla="*/ 89 h 96"/>
                <a:gd name="T24" fmla="*/ 3 w 68"/>
                <a:gd name="T25" fmla="*/ 95 h 96"/>
                <a:gd name="T26" fmla="*/ 1 w 68"/>
                <a:gd name="T27" fmla="*/ 96 h 96"/>
                <a:gd name="T28" fmla="*/ 0 w 68"/>
                <a:gd name="T29" fmla="*/ 94 h 96"/>
                <a:gd name="T30" fmla="*/ 0 w 68"/>
                <a:gd name="T31" fmla="*/ 2 h 96"/>
                <a:gd name="T32" fmla="*/ 1 w 68"/>
                <a:gd name="T33" fmla="*/ 0 h 96"/>
                <a:gd name="T34" fmla="*/ 3 w 68"/>
                <a:gd name="T35" fmla="*/ 1 h 96"/>
                <a:gd name="T36" fmla="*/ 10 w 68"/>
                <a:gd name="T37" fmla="*/ 7 h 96"/>
                <a:gd name="T38" fmla="*/ 17 w 68"/>
                <a:gd name="T39" fmla="*/ 1 h 96"/>
                <a:gd name="T40" fmla="*/ 19 w 68"/>
                <a:gd name="T41" fmla="*/ 1 h 96"/>
                <a:gd name="T42" fmla="*/ 26 w 68"/>
                <a:gd name="T43" fmla="*/ 7 h 96"/>
                <a:gd name="T44" fmla="*/ 33 w 68"/>
                <a:gd name="T45" fmla="*/ 1 h 96"/>
                <a:gd name="T46" fmla="*/ 35 w 68"/>
                <a:gd name="T47" fmla="*/ 1 h 96"/>
                <a:gd name="T48" fmla="*/ 42 w 68"/>
                <a:gd name="T49" fmla="*/ 7 h 96"/>
                <a:gd name="T50" fmla="*/ 49 w 68"/>
                <a:gd name="T51" fmla="*/ 1 h 96"/>
                <a:gd name="T52" fmla="*/ 51 w 68"/>
                <a:gd name="T53" fmla="*/ 1 h 96"/>
                <a:gd name="T54" fmla="*/ 58 w 68"/>
                <a:gd name="T55" fmla="*/ 7 h 96"/>
                <a:gd name="T56" fmla="*/ 65 w 68"/>
                <a:gd name="T57" fmla="*/ 1 h 96"/>
                <a:gd name="T58" fmla="*/ 67 w 68"/>
                <a:gd name="T59" fmla="*/ 0 h 96"/>
                <a:gd name="T60" fmla="*/ 68 w 68"/>
                <a:gd name="T61" fmla="*/ 2 h 96"/>
                <a:gd name="T62" fmla="*/ 68 w 68"/>
                <a:gd name="T63" fmla="*/ 94 h 96"/>
                <a:gd name="T64" fmla="*/ 67 w 68"/>
                <a:gd name="T65" fmla="*/ 96 h 96"/>
                <a:gd name="T66" fmla="*/ 66 w 68"/>
                <a:gd name="T67" fmla="*/ 96 h 96"/>
                <a:gd name="T68" fmla="*/ 42 w 68"/>
                <a:gd name="T69" fmla="*/ 84 h 96"/>
                <a:gd name="T70" fmla="*/ 43 w 68"/>
                <a:gd name="T71" fmla="*/ 85 h 96"/>
                <a:gd name="T72" fmla="*/ 50 w 68"/>
                <a:gd name="T73" fmla="*/ 91 h 96"/>
                <a:gd name="T74" fmla="*/ 57 w 68"/>
                <a:gd name="T75" fmla="*/ 85 h 96"/>
                <a:gd name="T76" fmla="*/ 59 w 68"/>
                <a:gd name="T77" fmla="*/ 85 h 96"/>
                <a:gd name="T78" fmla="*/ 64 w 68"/>
                <a:gd name="T79" fmla="*/ 89 h 96"/>
                <a:gd name="T80" fmla="*/ 64 w 68"/>
                <a:gd name="T81" fmla="*/ 7 h 96"/>
                <a:gd name="T82" fmla="*/ 59 w 68"/>
                <a:gd name="T83" fmla="*/ 11 h 96"/>
                <a:gd name="T84" fmla="*/ 57 w 68"/>
                <a:gd name="T85" fmla="*/ 11 h 96"/>
                <a:gd name="T86" fmla="*/ 50 w 68"/>
                <a:gd name="T87" fmla="*/ 5 h 96"/>
                <a:gd name="T88" fmla="*/ 43 w 68"/>
                <a:gd name="T89" fmla="*/ 11 h 96"/>
                <a:gd name="T90" fmla="*/ 41 w 68"/>
                <a:gd name="T91" fmla="*/ 11 h 96"/>
                <a:gd name="T92" fmla="*/ 34 w 68"/>
                <a:gd name="T93" fmla="*/ 5 h 96"/>
                <a:gd name="T94" fmla="*/ 27 w 68"/>
                <a:gd name="T95" fmla="*/ 11 h 96"/>
                <a:gd name="T96" fmla="*/ 25 w 68"/>
                <a:gd name="T97" fmla="*/ 11 h 96"/>
                <a:gd name="T98" fmla="*/ 18 w 68"/>
                <a:gd name="T99" fmla="*/ 5 h 96"/>
                <a:gd name="T100" fmla="*/ 11 w 68"/>
                <a:gd name="T101" fmla="*/ 11 h 96"/>
                <a:gd name="T102" fmla="*/ 9 w 68"/>
                <a:gd name="T103" fmla="*/ 11 h 96"/>
                <a:gd name="T104" fmla="*/ 4 w 68"/>
                <a:gd name="T105" fmla="*/ 7 h 96"/>
                <a:gd name="T106" fmla="*/ 4 w 68"/>
                <a:gd name="T107" fmla="*/ 89 h 96"/>
                <a:gd name="T108" fmla="*/ 9 w 68"/>
                <a:gd name="T109" fmla="*/ 85 h 96"/>
                <a:gd name="T110" fmla="*/ 11 w 68"/>
                <a:gd name="T111" fmla="*/ 85 h 96"/>
                <a:gd name="T112" fmla="*/ 18 w 68"/>
                <a:gd name="T113" fmla="*/ 91 h 96"/>
                <a:gd name="T114" fmla="*/ 25 w 68"/>
                <a:gd name="T115" fmla="*/ 85 h 96"/>
                <a:gd name="T116" fmla="*/ 27 w 68"/>
                <a:gd name="T117" fmla="*/ 85 h 96"/>
                <a:gd name="T118" fmla="*/ 34 w 68"/>
                <a:gd name="T119" fmla="*/ 91 h 96"/>
                <a:gd name="T120" fmla="*/ 41 w 68"/>
                <a:gd name="T121" fmla="*/ 85 h 96"/>
                <a:gd name="T122" fmla="*/ 42 w 68"/>
                <a:gd name="T123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8" h="96">
                  <a:moveTo>
                    <a:pt x="66" y="96"/>
                  </a:moveTo>
                  <a:cubicBezTo>
                    <a:pt x="65" y="96"/>
                    <a:pt x="65" y="96"/>
                    <a:pt x="65" y="95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6"/>
                    <a:pt x="49" y="96"/>
                    <a:pt x="49" y="95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35" y="95"/>
                    <a:pt x="35" y="95"/>
                    <a:pt x="35" y="95"/>
                  </a:cubicBezTo>
                  <a:cubicBezTo>
                    <a:pt x="35" y="96"/>
                    <a:pt x="33" y="96"/>
                    <a:pt x="33" y="95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6"/>
                    <a:pt x="17" y="96"/>
                    <a:pt x="17" y="95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3" y="96"/>
                    <a:pt x="2" y="96"/>
                    <a:pt x="1" y="96"/>
                  </a:cubicBezTo>
                  <a:cubicBezTo>
                    <a:pt x="0" y="96"/>
                    <a:pt x="0" y="95"/>
                    <a:pt x="0" y="9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0"/>
                    <a:pt x="19" y="0"/>
                    <a:pt x="19" y="1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0"/>
                    <a:pt x="35" y="0"/>
                    <a:pt x="35" y="1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0"/>
                    <a:pt x="51" y="0"/>
                    <a:pt x="51" y="1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5" y="0"/>
                    <a:pt x="66" y="0"/>
                    <a:pt x="67" y="0"/>
                  </a:cubicBezTo>
                  <a:cubicBezTo>
                    <a:pt x="68" y="0"/>
                    <a:pt x="68" y="1"/>
                    <a:pt x="68" y="2"/>
                  </a:cubicBezTo>
                  <a:cubicBezTo>
                    <a:pt x="68" y="94"/>
                    <a:pt x="68" y="94"/>
                    <a:pt x="68" y="94"/>
                  </a:cubicBezTo>
                  <a:cubicBezTo>
                    <a:pt x="68" y="95"/>
                    <a:pt x="68" y="96"/>
                    <a:pt x="67" y="96"/>
                  </a:cubicBezTo>
                  <a:cubicBezTo>
                    <a:pt x="67" y="96"/>
                    <a:pt x="66" y="96"/>
                    <a:pt x="66" y="96"/>
                  </a:cubicBezTo>
                  <a:close/>
                  <a:moveTo>
                    <a:pt x="42" y="84"/>
                  </a:moveTo>
                  <a:cubicBezTo>
                    <a:pt x="43" y="84"/>
                    <a:pt x="43" y="84"/>
                    <a:pt x="43" y="85"/>
                  </a:cubicBezTo>
                  <a:cubicBezTo>
                    <a:pt x="50" y="91"/>
                    <a:pt x="50" y="91"/>
                    <a:pt x="50" y="91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7" y="84"/>
                    <a:pt x="59" y="84"/>
                    <a:pt x="59" y="85"/>
                  </a:cubicBezTo>
                  <a:cubicBezTo>
                    <a:pt x="64" y="89"/>
                    <a:pt x="64" y="89"/>
                    <a:pt x="64" y="89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2"/>
                    <a:pt x="57" y="12"/>
                    <a:pt x="57" y="11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2"/>
                    <a:pt x="41" y="12"/>
                    <a:pt x="41" y="11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2"/>
                    <a:pt x="25" y="12"/>
                    <a:pt x="25" y="11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2"/>
                    <a:pt x="9" y="12"/>
                    <a:pt x="9" y="11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9" y="84"/>
                    <a:pt x="11" y="84"/>
                    <a:pt x="11" y="85"/>
                  </a:cubicBezTo>
                  <a:cubicBezTo>
                    <a:pt x="18" y="91"/>
                    <a:pt x="18" y="91"/>
                    <a:pt x="18" y="91"/>
                  </a:cubicBezTo>
                  <a:cubicBezTo>
                    <a:pt x="25" y="85"/>
                    <a:pt x="25" y="85"/>
                    <a:pt x="25" y="85"/>
                  </a:cubicBezTo>
                  <a:cubicBezTo>
                    <a:pt x="25" y="84"/>
                    <a:pt x="27" y="84"/>
                    <a:pt x="27" y="85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4"/>
                    <a:pt x="41" y="84"/>
                    <a:pt x="42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01" name="Freeform 860">
              <a:extLst>
                <a:ext uri="{FF2B5EF4-FFF2-40B4-BE49-F238E27FC236}">
                  <a16:creationId xmlns:a16="http://schemas.microsoft.com/office/drawing/2014/main" id="{40BB2199-9ABD-4833-8CA8-C04BA16C7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3338513"/>
              <a:ext cx="136525" cy="15875"/>
            </a:xfrm>
            <a:custGeom>
              <a:avLst/>
              <a:gdLst>
                <a:gd name="T0" fmla="*/ 34 w 36"/>
                <a:gd name="T1" fmla="*/ 4 h 4"/>
                <a:gd name="T2" fmla="*/ 2 w 36"/>
                <a:gd name="T3" fmla="*/ 4 h 4"/>
                <a:gd name="T4" fmla="*/ 0 w 36"/>
                <a:gd name="T5" fmla="*/ 2 h 4"/>
                <a:gd name="T6" fmla="*/ 2 w 36"/>
                <a:gd name="T7" fmla="*/ 0 h 4"/>
                <a:gd name="T8" fmla="*/ 34 w 36"/>
                <a:gd name="T9" fmla="*/ 0 h 4"/>
                <a:gd name="T10" fmla="*/ 36 w 36"/>
                <a:gd name="T11" fmla="*/ 2 h 4"/>
                <a:gd name="T12" fmla="*/ 34 w 3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4">
                  <a:moveTo>
                    <a:pt x="3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1"/>
                    <a:pt x="36" y="2"/>
                  </a:cubicBezTo>
                  <a:cubicBezTo>
                    <a:pt x="36" y="3"/>
                    <a:pt x="35" y="4"/>
                    <a:pt x="3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02" name="Freeform 861">
              <a:extLst>
                <a:ext uri="{FF2B5EF4-FFF2-40B4-BE49-F238E27FC236}">
                  <a16:creationId xmlns:a16="http://schemas.microsoft.com/office/drawing/2014/main" id="{5F7ADF18-3DE5-4A8B-AAA2-816B97753F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3384550"/>
              <a:ext cx="76200" cy="14288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03" name="Freeform 862">
              <a:extLst>
                <a:ext uri="{FF2B5EF4-FFF2-40B4-BE49-F238E27FC236}">
                  <a16:creationId xmlns:a16="http://schemas.microsoft.com/office/drawing/2014/main" id="{58C58660-399B-4640-A77A-63B657F67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3429000"/>
              <a:ext cx="76200" cy="15875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04" name="Freeform 863">
              <a:extLst>
                <a:ext uri="{FF2B5EF4-FFF2-40B4-BE49-F238E27FC236}">
                  <a16:creationId xmlns:a16="http://schemas.microsoft.com/office/drawing/2014/main" id="{A1246524-F805-4758-906E-30074854F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34734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05" name="Freeform 864">
              <a:extLst>
                <a:ext uri="{FF2B5EF4-FFF2-40B4-BE49-F238E27FC236}">
                  <a16:creationId xmlns:a16="http://schemas.microsoft.com/office/drawing/2014/main" id="{7C8D776B-AED1-4CEA-8212-CD612DD68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3538" y="3503613"/>
              <a:ext cx="14288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06" name="Freeform 865">
              <a:extLst>
                <a:ext uri="{FF2B5EF4-FFF2-40B4-BE49-F238E27FC236}">
                  <a16:creationId xmlns:a16="http://schemas.microsoft.com/office/drawing/2014/main" id="{729D9DF2-2359-480B-8CBD-178F661ED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3538" y="3398838"/>
              <a:ext cx="14288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07" name="Freeform 866">
              <a:extLst>
                <a:ext uri="{FF2B5EF4-FFF2-40B4-BE49-F238E27FC236}">
                  <a16:creationId xmlns:a16="http://schemas.microsoft.com/office/drawing/2014/main" id="{0AED2E78-5508-438A-BD7D-6EECD8C16F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1313" y="3414713"/>
              <a:ext cx="58738" cy="104775"/>
            </a:xfrm>
            <a:custGeom>
              <a:avLst/>
              <a:gdLst>
                <a:gd name="T0" fmla="*/ 8 w 16"/>
                <a:gd name="T1" fmla="*/ 28 h 28"/>
                <a:gd name="T2" fmla="*/ 0 w 16"/>
                <a:gd name="T3" fmla="*/ 20 h 28"/>
                <a:gd name="T4" fmla="*/ 2 w 16"/>
                <a:gd name="T5" fmla="*/ 18 h 28"/>
                <a:gd name="T6" fmla="*/ 4 w 16"/>
                <a:gd name="T7" fmla="*/ 20 h 28"/>
                <a:gd name="T8" fmla="*/ 8 w 16"/>
                <a:gd name="T9" fmla="*/ 24 h 28"/>
                <a:gd name="T10" fmla="*/ 12 w 16"/>
                <a:gd name="T11" fmla="*/ 20 h 28"/>
                <a:gd name="T12" fmla="*/ 8 w 16"/>
                <a:gd name="T13" fmla="*/ 16 h 28"/>
                <a:gd name="T14" fmla="*/ 0 w 16"/>
                <a:gd name="T15" fmla="*/ 8 h 28"/>
                <a:gd name="T16" fmla="*/ 8 w 16"/>
                <a:gd name="T17" fmla="*/ 0 h 28"/>
                <a:gd name="T18" fmla="*/ 16 w 16"/>
                <a:gd name="T19" fmla="*/ 8 h 28"/>
                <a:gd name="T20" fmla="*/ 14 w 16"/>
                <a:gd name="T21" fmla="*/ 10 h 28"/>
                <a:gd name="T22" fmla="*/ 12 w 16"/>
                <a:gd name="T23" fmla="*/ 8 h 28"/>
                <a:gd name="T24" fmla="*/ 8 w 16"/>
                <a:gd name="T25" fmla="*/ 4 h 28"/>
                <a:gd name="T26" fmla="*/ 4 w 16"/>
                <a:gd name="T27" fmla="*/ 8 h 28"/>
                <a:gd name="T28" fmla="*/ 8 w 16"/>
                <a:gd name="T29" fmla="*/ 12 h 28"/>
                <a:gd name="T30" fmla="*/ 16 w 16"/>
                <a:gd name="T31" fmla="*/ 20 h 28"/>
                <a:gd name="T32" fmla="*/ 8 w 16"/>
                <a:gd name="T3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28">
                  <a:moveTo>
                    <a:pt x="8" y="28"/>
                  </a:moveTo>
                  <a:cubicBezTo>
                    <a:pt x="4" y="28"/>
                    <a:pt x="0" y="24"/>
                    <a:pt x="0" y="20"/>
                  </a:cubicBezTo>
                  <a:cubicBezTo>
                    <a:pt x="0" y="19"/>
                    <a:pt x="1" y="18"/>
                    <a:pt x="2" y="18"/>
                  </a:cubicBezTo>
                  <a:cubicBezTo>
                    <a:pt x="3" y="18"/>
                    <a:pt x="4" y="19"/>
                    <a:pt x="4" y="20"/>
                  </a:cubicBezTo>
                  <a:cubicBezTo>
                    <a:pt x="4" y="22"/>
                    <a:pt x="6" y="24"/>
                    <a:pt x="8" y="24"/>
                  </a:cubicBezTo>
                  <a:cubicBezTo>
                    <a:pt x="10" y="24"/>
                    <a:pt x="12" y="22"/>
                    <a:pt x="12" y="20"/>
                  </a:cubicBezTo>
                  <a:cubicBezTo>
                    <a:pt x="12" y="18"/>
                    <a:pt x="10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9"/>
                    <a:pt x="15" y="10"/>
                    <a:pt x="14" y="10"/>
                  </a:cubicBezTo>
                  <a:cubicBezTo>
                    <a:pt x="13" y="10"/>
                    <a:pt x="12" y="9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2" y="12"/>
                    <a:pt x="16" y="16"/>
                    <a:pt x="16" y="20"/>
                  </a:cubicBezTo>
                  <a:cubicBezTo>
                    <a:pt x="16" y="24"/>
                    <a:pt x="12" y="28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CC048211-E2A1-4BB0-9608-CB00F31BFCFD}"/>
              </a:ext>
            </a:extLst>
          </p:cNvPr>
          <p:cNvGrpSpPr/>
          <p:nvPr/>
        </p:nvGrpSpPr>
        <p:grpSpPr>
          <a:xfrm>
            <a:off x="1289253" y="3933297"/>
            <a:ext cx="360363" cy="361950"/>
            <a:chOff x="6997700" y="3970338"/>
            <a:chExt cx="360363" cy="361950"/>
          </a:xfrm>
          <a:solidFill>
            <a:schemeClr val="bg1"/>
          </a:solidFill>
        </p:grpSpPr>
        <p:sp>
          <p:nvSpPr>
            <p:cNvPr id="109" name="Freeform 940">
              <a:extLst>
                <a:ext uri="{FF2B5EF4-FFF2-40B4-BE49-F238E27FC236}">
                  <a16:creationId xmlns:a16="http://schemas.microsoft.com/office/drawing/2014/main" id="{3C6C9B3F-F79D-474A-92EA-40AE84F40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1988" y="4105275"/>
              <a:ext cx="285750" cy="150813"/>
            </a:xfrm>
            <a:custGeom>
              <a:avLst/>
              <a:gdLst>
                <a:gd name="T0" fmla="*/ 42 w 76"/>
                <a:gd name="T1" fmla="*/ 40 h 40"/>
                <a:gd name="T2" fmla="*/ 10 w 76"/>
                <a:gd name="T3" fmla="*/ 40 h 40"/>
                <a:gd name="T4" fmla="*/ 8 w 76"/>
                <a:gd name="T5" fmla="*/ 38 h 40"/>
                <a:gd name="T6" fmla="*/ 0 w 76"/>
                <a:gd name="T7" fmla="*/ 2 h 40"/>
                <a:gd name="T8" fmla="*/ 0 w 76"/>
                <a:gd name="T9" fmla="*/ 1 h 40"/>
                <a:gd name="T10" fmla="*/ 2 w 76"/>
                <a:gd name="T11" fmla="*/ 0 h 40"/>
                <a:gd name="T12" fmla="*/ 74 w 76"/>
                <a:gd name="T13" fmla="*/ 0 h 40"/>
                <a:gd name="T14" fmla="*/ 76 w 76"/>
                <a:gd name="T15" fmla="*/ 1 h 40"/>
                <a:gd name="T16" fmla="*/ 76 w 76"/>
                <a:gd name="T17" fmla="*/ 2 h 40"/>
                <a:gd name="T18" fmla="*/ 74 w 76"/>
                <a:gd name="T19" fmla="*/ 12 h 40"/>
                <a:gd name="T20" fmla="*/ 71 w 76"/>
                <a:gd name="T21" fmla="*/ 14 h 40"/>
                <a:gd name="T22" fmla="*/ 70 w 76"/>
                <a:gd name="T23" fmla="*/ 12 h 40"/>
                <a:gd name="T24" fmla="*/ 72 w 76"/>
                <a:gd name="T25" fmla="*/ 4 h 40"/>
                <a:gd name="T26" fmla="*/ 4 w 76"/>
                <a:gd name="T27" fmla="*/ 4 h 40"/>
                <a:gd name="T28" fmla="*/ 12 w 76"/>
                <a:gd name="T29" fmla="*/ 36 h 40"/>
                <a:gd name="T30" fmla="*/ 42 w 76"/>
                <a:gd name="T31" fmla="*/ 36 h 40"/>
                <a:gd name="T32" fmla="*/ 44 w 76"/>
                <a:gd name="T33" fmla="*/ 38 h 40"/>
                <a:gd name="T34" fmla="*/ 42 w 76"/>
                <a:gd name="T3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6" h="40">
                  <a:moveTo>
                    <a:pt x="42" y="40"/>
                  </a:moveTo>
                  <a:cubicBezTo>
                    <a:pt x="10" y="40"/>
                    <a:pt x="10" y="40"/>
                    <a:pt x="10" y="40"/>
                  </a:cubicBezTo>
                  <a:cubicBezTo>
                    <a:pt x="9" y="40"/>
                    <a:pt x="8" y="39"/>
                    <a:pt x="8" y="3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5" y="0"/>
                    <a:pt x="76" y="1"/>
                  </a:cubicBezTo>
                  <a:cubicBezTo>
                    <a:pt x="76" y="1"/>
                    <a:pt x="76" y="2"/>
                    <a:pt x="76" y="2"/>
                  </a:cubicBezTo>
                  <a:cubicBezTo>
                    <a:pt x="74" y="12"/>
                    <a:pt x="74" y="12"/>
                    <a:pt x="74" y="12"/>
                  </a:cubicBezTo>
                  <a:cubicBezTo>
                    <a:pt x="73" y="14"/>
                    <a:pt x="72" y="14"/>
                    <a:pt x="71" y="14"/>
                  </a:cubicBezTo>
                  <a:cubicBezTo>
                    <a:pt x="70" y="14"/>
                    <a:pt x="70" y="13"/>
                    <a:pt x="70" y="12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3" y="36"/>
                    <a:pt x="44" y="37"/>
                    <a:pt x="44" y="38"/>
                  </a:cubicBezTo>
                  <a:cubicBezTo>
                    <a:pt x="44" y="39"/>
                    <a:pt x="43" y="40"/>
                    <a:pt x="42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10" name="Freeform 941">
              <a:extLst>
                <a:ext uri="{FF2B5EF4-FFF2-40B4-BE49-F238E27FC236}">
                  <a16:creationId xmlns:a16="http://schemas.microsoft.com/office/drawing/2014/main" id="{653BCE1C-A75D-42AD-A3F7-B5A16A7275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7700" y="4075113"/>
              <a:ext cx="315913" cy="46038"/>
            </a:xfrm>
            <a:custGeom>
              <a:avLst/>
              <a:gdLst>
                <a:gd name="T0" fmla="*/ 82 w 84"/>
                <a:gd name="T1" fmla="*/ 12 h 12"/>
                <a:gd name="T2" fmla="*/ 2 w 84"/>
                <a:gd name="T3" fmla="*/ 12 h 12"/>
                <a:gd name="T4" fmla="*/ 0 w 84"/>
                <a:gd name="T5" fmla="*/ 10 h 12"/>
                <a:gd name="T6" fmla="*/ 0 w 84"/>
                <a:gd name="T7" fmla="*/ 2 h 12"/>
                <a:gd name="T8" fmla="*/ 2 w 84"/>
                <a:gd name="T9" fmla="*/ 0 h 12"/>
                <a:gd name="T10" fmla="*/ 82 w 84"/>
                <a:gd name="T11" fmla="*/ 0 h 12"/>
                <a:gd name="T12" fmla="*/ 84 w 84"/>
                <a:gd name="T13" fmla="*/ 2 h 12"/>
                <a:gd name="T14" fmla="*/ 84 w 84"/>
                <a:gd name="T15" fmla="*/ 10 h 12"/>
                <a:gd name="T16" fmla="*/ 82 w 84"/>
                <a:gd name="T17" fmla="*/ 12 h 12"/>
                <a:gd name="T18" fmla="*/ 4 w 84"/>
                <a:gd name="T19" fmla="*/ 8 h 12"/>
                <a:gd name="T20" fmla="*/ 80 w 84"/>
                <a:gd name="T21" fmla="*/ 8 h 12"/>
                <a:gd name="T22" fmla="*/ 80 w 84"/>
                <a:gd name="T23" fmla="*/ 4 h 12"/>
                <a:gd name="T24" fmla="*/ 4 w 84"/>
                <a:gd name="T25" fmla="*/ 4 h 12"/>
                <a:gd name="T26" fmla="*/ 4 w 84"/>
                <a:gd name="T2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4" h="12">
                  <a:moveTo>
                    <a:pt x="82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3" y="0"/>
                    <a:pt x="84" y="1"/>
                    <a:pt x="84" y="2"/>
                  </a:cubicBezTo>
                  <a:cubicBezTo>
                    <a:pt x="84" y="10"/>
                    <a:pt x="84" y="10"/>
                    <a:pt x="84" y="10"/>
                  </a:cubicBezTo>
                  <a:cubicBezTo>
                    <a:pt x="84" y="11"/>
                    <a:pt x="83" y="12"/>
                    <a:pt x="82" y="12"/>
                  </a:cubicBezTo>
                  <a:close/>
                  <a:moveTo>
                    <a:pt x="4" y="8"/>
                  </a:moveTo>
                  <a:cubicBezTo>
                    <a:pt x="80" y="8"/>
                    <a:pt x="80" y="8"/>
                    <a:pt x="80" y="8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11" name="Freeform 942">
              <a:extLst>
                <a:ext uri="{FF2B5EF4-FFF2-40B4-BE49-F238E27FC236}">
                  <a16:creationId xmlns:a16="http://schemas.microsoft.com/office/drawing/2014/main" id="{8387C48A-2245-4EE7-8417-7FD50141C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150" y="3970338"/>
              <a:ext cx="106363" cy="90488"/>
            </a:xfrm>
            <a:custGeom>
              <a:avLst/>
              <a:gdLst>
                <a:gd name="T0" fmla="*/ 2 w 28"/>
                <a:gd name="T1" fmla="*/ 24 h 24"/>
                <a:gd name="T2" fmla="*/ 0 w 28"/>
                <a:gd name="T3" fmla="*/ 23 h 24"/>
                <a:gd name="T4" fmla="*/ 1 w 28"/>
                <a:gd name="T5" fmla="*/ 20 h 24"/>
                <a:gd name="T6" fmla="*/ 25 w 28"/>
                <a:gd name="T7" fmla="*/ 0 h 24"/>
                <a:gd name="T8" fmla="*/ 28 w 28"/>
                <a:gd name="T9" fmla="*/ 1 h 24"/>
                <a:gd name="T10" fmla="*/ 27 w 28"/>
                <a:gd name="T11" fmla="*/ 4 h 24"/>
                <a:gd name="T12" fmla="*/ 3 w 28"/>
                <a:gd name="T13" fmla="*/ 24 h 24"/>
                <a:gd name="T14" fmla="*/ 2 w 28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24">
                  <a:moveTo>
                    <a:pt x="2" y="24"/>
                  </a:moveTo>
                  <a:cubicBezTo>
                    <a:pt x="1" y="24"/>
                    <a:pt x="1" y="24"/>
                    <a:pt x="0" y="23"/>
                  </a:cubicBezTo>
                  <a:cubicBezTo>
                    <a:pt x="0" y="22"/>
                    <a:pt x="0" y="21"/>
                    <a:pt x="1" y="2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6" y="0"/>
                    <a:pt x="27" y="0"/>
                    <a:pt x="28" y="1"/>
                  </a:cubicBezTo>
                  <a:cubicBezTo>
                    <a:pt x="28" y="2"/>
                    <a:pt x="28" y="3"/>
                    <a:pt x="27" y="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2" y="24"/>
                    <a:pt x="2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12" name="Freeform 943">
              <a:extLst>
                <a:ext uri="{FF2B5EF4-FFF2-40B4-BE49-F238E27FC236}">
                  <a16:creationId xmlns:a16="http://schemas.microsoft.com/office/drawing/2014/main" id="{FA234870-9171-40F0-AD82-6AE6D4D3DE8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2800" y="3970338"/>
              <a:ext cx="104775" cy="90488"/>
            </a:xfrm>
            <a:custGeom>
              <a:avLst/>
              <a:gdLst>
                <a:gd name="T0" fmla="*/ 26 w 28"/>
                <a:gd name="T1" fmla="*/ 24 h 24"/>
                <a:gd name="T2" fmla="*/ 25 w 28"/>
                <a:gd name="T3" fmla="*/ 24 h 24"/>
                <a:gd name="T4" fmla="*/ 1 w 28"/>
                <a:gd name="T5" fmla="*/ 4 h 24"/>
                <a:gd name="T6" fmla="*/ 0 w 28"/>
                <a:gd name="T7" fmla="*/ 1 h 24"/>
                <a:gd name="T8" fmla="*/ 3 w 28"/>
                <a:gd name="T9" fmla="*/ 0 h 24"/>
                <a:gd name="T10" fmla="*/ 27 w 28"/>
                <a:gd name="T11" fmla="*/ 20 h 24"/>
                <a:gd name="T12" fmla="*/ 28 w 28"/>
                <a:gd name="T13" fmla="*/ 23 h 24"/>
                <a:gd name="T14" fmla="*/ 26 w 28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24">
                  <a:moveTo>
                    <a:pt x="26" y="24"/>
                  </a:moveTo>
                  <a:cubicBezTo>
                    <a:pt x="26" y="24"/>
                    <a:pt x="25" y="24"/>
                    <a:pt x="25" y="2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8" y="21"/>
                    <a:pt x="28" y="22"/>
                    <a:pt x="28" y="23"/>
                  </a:cubicBezTo>
                  <a:cubicBezTo>
                    <a:pt x="27" y="24"/>
                    <a:pt x="27" y="24"/>
                    <a:pt x="2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13" name="Freeform 944">
              <a:extLst>
                <a:ext uri="{FF2B5EF4-FFF2-40B4-BE49-F238E27FC236}">
                  <a16:creationId xmlns:a16="http://schemas.microsoft.com/office/drawing/2014/main" id="{75C1F721-CF81-4FD2-8D6F-E1A69E3DF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1063" y="4217988"/>
              <a:ext cx="88900" cy="60325"/>
            </a:xfrm>
            <a:custGeom>
              <a:avLst/>
              <a:gdLst>
                <a:gd name="T0" fmla="*/ 10 w 24"/>
                <a:gd name="T1" fmla="*/ 16 h 16"/>
                <a:gd name="T2" fmla="*/ 8 w 24"/>
                <a:gd name="T3" fmla="*/ 15 h 16"/>
                <a:gd name="T4" fmla="*/ 1 w 24"/>
                <a:gd name="T5" fmla="*/ 7 h 16"/>
                <a:gd name="T6" fmla="*/ 1 w 24"/>
                <a:gd name="T7" fmla="*/ 5 h 16"/>
                <a:gd name="T8" fmla="*/ 3 w 24"/>
                <a:gd name="T9" fmla="*/ 5 h 16"/>
                <a:gd name="T10" fmla="*/ 10 w 24"/>
                <a:gd name="T11" fmla="*/ 11 h 16"/>
                <a:gd name="T12" fmla="*/ 21 w 24"/>
                <a:gd name="T13" fmla="*/ 1 h 16"/>
                <a:gd name="T14" fmla="*/ 23 w 24"/>
                <a:gd name="T15" fmla="*/ 1 h 16"/>
                <a:gd name="T16" fmla="*/ 23 w 24"/>
                <a:gd name="T17" fmla="*/ 3 h 16"/>
                <a:gd name="T18" fmla="*/ 11 w 24"/>
                <a:gd name="T19" fmla="*/ 15 h 16"/>
                <a:gd name="T20" fmla="*/ 10 w 24"/>
                <a:gd name="T2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16">
                  <a:moveTo>
                    <a:pt x="10" y="16"/>
                  </a:moveTo>
                  <a:cubicBezTo>
                    <a:pt x="9" y="16"/>
                    <a:pt x="9" y="16"/>
                    <a:pt x="8" y="15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5"/>
                    <a:pt x="1" y="5"/>
                  </a:cubicBezTo>
                  <a:cubicBezTo>
                    <a:pt x="1" y="4"/>
                    <a:pt x="3" y="4"/>
                    <a:pt x="3" y="5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0"/>
                    <a:pt x="23" y="0"/>
                    <a:pt x="23" y="1"/>
                  </a:cubicBezTo>
                  <a:cubicBezTo>
                    <a:pt x="24" y="1"/>
                    <a:pt x="24" y="3"/>
                    <a:pt x="23" y="3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6"/>
                    <a:pt x="10" y="16"/>
                    <a:pt x="1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14" name="Freeform 945">
              <a:extLst>
                <a:ext uri="{FF2B5EF4-FFF2-40B4-BE49-F238E27FC236}">
                  <a16:creationId xmlns:a16="http://schemas.microsoft.com/office/drawing/2014/main" id="{60FA57AB-F9E2-434E-86BD-B0039DF19E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92963" y="4165600"/>
              <a:ext cx="165100" cy="166688"/>
            </a:xfrm>
            <a:custGeom>
              <a:avLst/>
              <a:gdLst>
                <a:gd name="T0" fmla="*/ 22 w 44"/>
                <a:gd name="T1" fmla="*/ 44 h 44"/>
                <a:gd name="T2" fmla="*/ 0 w 44"/>
                <a:gd name="T3" fmla="*/ 22 h 44"/>
                <a:gd name="T4" fmla="*/ 22 w 44"/>
                <a:gd name="T5" fmla="*/ 0 h 44"/>
                <a:gd name="T6" fmla="*/ 44 w 44"/>
                <a:gd name="T7" fmla="*/ 22 h 44"/>
                <a:gd name="T8" fmla="*/ 22 w 44"/>
                <a:gd name="T9" fmla="*/ 44 h 44"/>
                <a:gd name="T10" fmla="*/ 22 w 44"/>
                <a:gd name="T11" fmla="*/ 4 h 44"/>
                <a:gd name="T12" fmla="*/ 4 w 44"/>
                <a:gd name="T13" fmla="*/ 22 h 44"/>
                <a:gd name="T14" fmla="*/ 22 w 44"/>
                <a:gd name="T15" fmla="*/ 40 h 44"/>
                <a:gd name="T16" fmla="*/ 40 w 44"/>
                <a:gd name="T17" fmla="*/ 22 h 44"/>
                <a:gd name="T18" fmla="*/ 22 w 44"/>
                <a:gd name="T19" fmla="*/ 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22" y="44"/>
                  </a:moveTo>
                  <a:cubicBezTo>
                    <a:pt x="10" y="44"/>
                    <a:pt x="0" y="34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34" y="0"/>
                    <a:pt x="44" y="10"/>
                    <a:pt x="44" y="22"/>
                  </a:cubicBezTo>
                  <a:cubicBezTo>
                    <a:pt x="44" y="34"/>
                    <a:pt x="34" y="44"/>
                    <a:pt x="22" y="44"/>
                  </a:cubicBezTo>
                  <a:close/>
                  <a:moveTo>
                    <a:pt x="22" y="4"/>
                  </a:moveTo>
                  <a:cubicBezTo>
                    <a:pt x="12" y="4"/>
                    <a:pt x="4" y="12"/>
                    <a:pt x="4" y="22"/>
                  </a:cubicBezTo>
                  <a:cubicBezTo>
                    <a:pt x="4" y="32"/>
                    <a:pt x="12" y="40"/>
                    <a:pt x="22" y="40"/>
                  </a:cubicBezTo>
                  <a:cubicBezTo>
                    <a:pt x="32" y="40"/>
                    <a:pt x="40" y="32"/>
                    <a:pt x="40" y="22"/>
                  </a:cubicBezTo>
                  <a:cubicBezTo>
                    <a:pt x="40" y="12"/>
                    <a:pt x="32" y="4"/>
                    <a:pt x="2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45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2CA88A26-57EC-49A1-A429-5137F149E339}"/>
              </a:ext>
            </a:extLst>
          </p:cNvPr>
          <p:cNvSpPr txBox="1"/>
          <p:nvPr/>
        </p:nvSpPr>
        <p:spPr>
          <a:xfrm>
            <a:off x="2125924" y="2457886"/>
            <a:ext cx="2938956" cy="9857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4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D39799DB-5DA4-41FB-9B76-0DF272B974C9}"/>
              </a:ext>
            </a:extLst>
          </p:cNvPr>
          <p:cNvSpPr txBox="1"/>
          <p:nvPr/>
        </p:nvSpPr>
        <p:spPr>
          <a:xfrm>
            <a:off x="2125924" y="3663923"/>
            <a:ext cx="2938956" cy="9857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4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F505705F-5381-4944-BB7E-DD43E95BC145}"/>
              </a:ext>
            </a:extLst>
          </p:cNvPr>
          <p:cNvSpPr txBox="1"/>
          <p:nvPr/>
        </p:nvSpPr>
        <p:spPr>
          <a:xfrm>
            <a:off x="2125924" y="5096357"/>
            <a:ext cx="2938956" cy="9857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C4981048-3C12-4C65-A584-7C811C2B383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5941" y="757414"/>
            <a:ext cx="5436973" cy="6024632"/>
          </a:xfrm>
          <a:prstGeom prst="rect">
            <a:avLst/>
          </a:prstGeom>
        </p:spPr>
      </p:pic>
      <p:grpSp>
        <p:nvGrpSpPr>
          <p:cNvPr id="51" name="组合 50">
            <a:extLst>
              <a:ext uri="{FF2B5EF4-FFF2-40B4-BE49-F238E27FC236}">
                <a16:creationId xmlns:a16="http://schemas.microsoft.com/office/drawing/2014/main" id="{7DDF7AE4-DE19-47BE-A6DD-58E245DD6774}"/>
              </a:ext>
            </a:extLst>
          </p:cNvPr>
          <p:cNvGrpSpPr/>
          <p:nvPr/>
        </p:nvGrpSpPr>
        <p:grpSpPr>
          <a:xfrm rot="5400000">
            <a:off x="3835262" y="758053"/>
            <a:ext cx="101370" cy="1330760"/>
            <a:chOff x="508216" y="2820579"/>
            <a:chExt cx="196770" cy="2583143"/>
          </a:xfrm>
          <a:solidFill>
            <a:srgbClr val="6C79BA"/>
          </a:solidFill>
        </p:grpSpPr>
        <p:sp>
          <p:nvSpPr>
            <p:cNvPr id="52" name="椭圆 51">
              <a:extLst>
                <a:ext uri="{FF2B5EF4-FFF2-40B4-BE49-F238E27FC236}">
                  <a16:creationId xmlns:a16="http://schemas.microsoft.com/office/drawing/2014/main" id="{8350D768-DAE4-4994-8352-AA57598618EC}"/>
                </a:ext>
              </a:extLst>
            </p:cNvPr>
            <p:cNvSpPr/>
            <p:nvPr/>
          </p:nvSpPr>
          <p:spPr>
            <a:xfrm>
              <a:off x="508217" y="2820579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53" name="直接连接符 52">
              <a:extLst>
                <a:ext uri="{FF2B5EF4-FFF2-40B4-BE49-F238E27FC236}">
                  <a16:creationId xmlns:a16="http://schemas.microsoft.com/office/drawing/2014/main" id="{28CB0D84-BE32-4F53-8306-22A4A12DB0AA}"/>
                </a:ext>
              </a:extLst>
            </p:cNvPr>
            <p:cNvCxnSpPr/>
            <p:nvPr/>
          </p:nvCxnSpPr>
          <p:spPr>
            <a:xfrm>
              <a:off x="606601" y="3222594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椭圆 53">
              <a:extLst>
                <a:ext uri="{FF2B5EF4-FFF2-40B4-BE49-F238E27FC236}">
                  <a16:creationId xmlns:a16="http://schemas.microsoft.com/office/drawing/2014/main" id="{FC75A6E2-43F0-40E7-BDC2-034AF01E5DDA}"/>
                </a:ext>
              </a:extLst>
            </p:cNvPr>
            <p:cNvSpPr/>
            <p:nvPr/>
          </p:nvSpPr>
          <p:spPr>
            <a:xfrm>
              <a:off x="508216" y="4013766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55" name="直接连接符 54">
              <a:extLst>
                <a:ext uri="{FF2B5EF4-FFF2-40B4-BE49-F238E27FC236}">
                  <a16:creationId xmlns:a16="http://schemas.microsoft.com/office/drawing/2014/main" id="{0EA7780B-120D-4537-ADC5-DA9921AA4A68}"/>
                </a:ext>
              </a:extLst>
            </p:cNvPr>
            <p:cNvCxnSpPr/>
            <p:nvPr/>
          </p:nvCxnSpPr>
          <p:spPr>
            <a:xfrm>
              <a:off x="606600" y="4415781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椭圆 55">
              <a:extLst>
                <a:ext uri="{FF2B5EF4-FFF2-40B4-BE49-F238E27FC236}">
                  <a16:creationId xmlns:a16="http://schemas.microsoft.com/office/drawing/2014/main" id="{E87A9035-B9DB-4993-9024-03DE49B16875}"/>
                </a:ext>
              </a:extLst>
            </p:cNvPr>
            <p:cNvSpPr/>
            <p:nvPr/>
          </p:nvSpPr>
          <p:spPr>
            <a:xfrm>
              <a:off x="508216" y="5206953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5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9022427F-9938-45F2-A6D9-64DFF4FA24DF}"/>
              </a:ext>
            </a:extLst>
          </p:cNvPr>
          <p:cNvSpPr txBox="1"/>
          <p:nvPr/>
        </p:nvSpPr>
        <p:spPr>
          <a:xfrm>
            <a:off x="3231976" y="745018"/>
            <a:ext cx="1307939" cy="3991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600" kern="0" dirty="0">
                <a:solidFill>
                  <a:srgbClr val="6C79BA"/>
                </a:solidFill>
                <a:cs typeface="+mn-ea"/>
                <a:sym typeface="+mn-lt"/>
              </a:rPr>
              <a:t>Synergistically utilize technically sound portals with frictionless </a:t>
            </a:r>
            <a:r>
              <a:rPr sz="600" kern="0" dirty="0" err="1">
                <a:solidFill>
                  <a:srgbClr val="6C79BA"/>
                </a:solidFill>
                <a:cs typeface="+mn-ea"/>
                <a:sym typeface="+mn-lt"/>
              </a:rPr>
              <a:t>chains</a:t>
            </a:r>
            <a:r>
              <a:rPr lang="en-US" altLang="zh-CN" sz="600" kern="0" dirty="0" err="1">
                <a:solidFill>
                  <a:srgbClr val="6C79BA"/>
                </a:solidFill>
                <a:cs typeface="+mn-ea"/>
                <a:sym typeface="+mn-lt"/>
              </a:rPr>
              <a:t>Synergistically</a:t>
            </a:r>
            <a:endParaRPr lang="en-US" altLang="zh-CN" sz="600" kern="0" dirty="0">
              <a:solidFill>
                <a:srgbClr val="6C79BA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24512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7" grpId="0" animBg="1"/>
      <p:bldP spid="5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31">
            <a:extLst>
              <a:ext uri="{FF2B5EF4-FFF2-40B4-BE49-F238E27FC236}">
                <a16:creationId xmlns:a16="http://schemas.microsoft.com/office/drawing/2014/main" id="{E7FB9039-B1C0-49A1-A3BC-F55A9EA99967}"/>
              </a:ext>
            </a:extLst>
          </p:cNvPr>
          <p:cNvSpPr txBox="1"/>
          <p:nvPr/>
        </p:nvSpPr>
        <p:spPr>
          <a:xfrm rot="10800000" flipH="1">
            <a:off x="-20800" y="4080168"/>
            <a:ext cx="3841958" cy="2809874"/>
          </a:xfrm>
          <a:custGeom>
            <a:avLst/>
            <a:gdLst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54452"/>
              <a:gd name="connsiteX1" fmla="*/ 6674304 w 6674304"/>
              <a:gd name="connsiteY1" fmla="*/ 0 h 5954452"/>
              <a:gd name="connsiteX2" fmla="*/ 6672463 w 6674304"/>
              <a:gd name="connsiteY2" fmla="*/ 3528 h 5954452"/>
              <a:gd name="connsiteX3" fmla="*/ 6142663 w 6674304"/>
              <a:gd name="connsiteY3" fmla="*/ 1686835 h 5954452"/>
              <a:gd name="connsiteX4" fmla="*/ 4132917 w 6674304"/>
              <a:gd name="connsiteY4" fmla="*/ 2753737 h 5954452"/>
              <a:gd name="connsiteX5" fmla="*/ 3289320 w 6674304"/>
              <a:gd name="connsiteY5" fmla="*/ 4862728 h 5954452"/>
              <a:gd name="connsiteX6" fmla="*/ 1763402 w 6674304"/>
              <a:gd name="connsiteY6" fmla="*/ 5954443 h 5954452"/>
              <a:gd name="connsiteX7" fmla="*/ 63803 w 6674304"/>
              <a:gd name="connsiteY7" fmla="*/ 5470616 h 5954452"/>
              <a:gd name="connsiteX8" fmla="*/ 0 w 6674304"/>
              <a:gd name="connsiteY8" fmla="*/ 5467195 h 5954452"/>
              <a:gd name="connsiteX9" fmla="*/ 0 w 6674304"/>
              <a:gd name="connsiteY9" fmla="*/ 0 h 5954452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323857 w 6674304"/>
              <a:gd name="connsiteY5" fmla="*/ 488071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7613"/>
              <a:gd name="connsiteX1" fmla="*/ 6674304 w 6674304"/>
              <a:gd name="connsiteY1" fmla="*/ 0 h 5957613"/>
              <a:gd name="connsiteX2" fmla="*/ 6672463 w 6674304"/>
              <a:gd name="connsiteY2" fmla="*/ 3528 h 5957613"/>
              <a:gd name="connsiteX3" fmla="*/ 6142663 w 6674304"/>
              <a:gd name="connsiteY3" fmla="*/ 1686835 h 5957613"/>
              <a:gd name="connsiteX4" fmla="*/ 4132917 w 6674304"/>
              <a:gd name="connsiteY4" fmla="*/ 2753737 h 5957613"/>
              <a:gd name="connsiteX5" fmla="*/ 3323857 w 6674304"/>
              <a:gd name="connsiteY5" fmla="*/ 4880718 h 5957613"/>
              <a:gd name="connsiteX6" fmla="*/ 1763402 w 6674304"/>
              <a:gd name="connsiteY6" fmla="*/ 5954443 h 5957613"/>
              <a:gd name="connsiteX7" fmla="*/ 63803 w 6674304"/>
              <a:gd name="connsiteY7" fmla="*/ 5470616 h 5957613"/>
              <a:gd name="connsiteX8" fmla="*/ 0 w 6674304"/>
              <a:gd name="connsiteY8" fmla="*/ 5467195 h 5957613"/>
              <a:gd name="connsiteX9" fmla="*/ 0 w 6674304"/>
              <a:gd name="connsiteY9" fmla="*/ 0 h 5957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74304" h="5957613">
                <a:moveTo>
                  <a:pt x="0" y="0"/>
                </a:moveTo>
                <a:lnTo>
                  <a:pt x="6674304" y="0"/>
                </a:lnTo>
                <a:lnTo>
                  <a:pt x="6672463" y="3528"/>
                </a:lnTo>
                <a:cubicBezTo>
                  <a:pt x="6485641" y="423111"/>
                  <a:pt x="6718539" y="1011007"/>
                  <a:pt x="6142663" y="1686835"/>
                </a:cubicBezTo>
                <a:cubicBezTo>
                  <a:pt x="5728792" y="2172540"/>
                  <a:pt x="4602718" y="2221423"/>
                  <a:pt x="4132917" y="2753737"/>
                </a:cubicBezTo>
                <a:cubicBezTo>
                  <a:pt x="3663116" y="3286051"/>
                  <a:pt x="3658337" y="4266313"/>
                  <a:pt x="3323857" y="4880718"/>
                </a:cubicBezTo>
                <a:cubicBezTo>
                  <a:pt x="2989377" y="5495123"/>
                  <a:pt x="2577285" y="5862125"/>
                  <a:pt x="1763402" y="5954443"/>
                </a:cubicBezTo>
                <a:cubicBezTo>
                  <a:pt x="1230133" y="6001788"/>
                  <a:pt x="551766" y="5503698"/>
                  <a:pt x="63803" y="5470616"/>
                </a:cubicBezTo>
                <a:lnTo>
                  <a:pt x="0" y="5467195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0" marR="0" lvl="1" indent="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latin typeface="+mn-lt"/>
              <a:cs typeface="+mn-ea"/>
              <a:sym typeface="+mn-lt"/>
            </a:endParaRPr>
          </a:p>
        </p:txBody>
      </p:sp>
      <p:sp>
        <p:nvSpPr>
          <p:cNvPr id="26" name="Freeform: Shape 28">
            <a:extLst>
              <a:ext uri="{FF2B5EF4-FFF2-40B4-BE49-F238E27FC236}">
                <a16:creationId xmlns:a16="http://schemas.microsoft.com/office/drawing/2014/main" id="{BF709F12-0348-4592-B13A-EEAC8D372363}"/>
              </a:ext>
            </a:extLst>
          </p:cNvPr>
          <p:cNvSpPr/>
          <p:nvPr/>
        </p:nvSpPr>
        <p:spPr>
          <a:xfrm>
            <a:off x="5451676" y="0"/>
            <a:ext cx="6740324" cy="6858000"/>
          </a:xfrm>
          <a:custGeom>
            <a:avLst/>
            <a:gdLst>
              <a:gd name="connsiteX0" fmla="*/ 6050384 w 8632154"/>
              <a:gd name="connsiteY0" fmla="*/ 0 h 6858000"/>
              <a:gd name="connsiteX1" fmla="*/ 8632154 w 8632154"/>
              <a:gd name="connsiteY1" fmla="*/ 0 h 6858000"/>
              <a:gd name="connsiteX2" fmla="*/ 8632154 w 8632154"/>
              <a:gd name="connsiteY2" fmla="*/ 6858000 h 6858000"/>
              <a:gd name="connsiteX3" fmla="*/ 0 w 8632154"/>
              <a:gd name="connsiteY3" fmla="*/ 6858000 h 6858000"/>
              <a:gd name="connsiteX4" fmla="*/ 17136 w 8632154"/>
              <a:gd name="connsiteY4" fmla="*/ 6850412 h 6858000"/>
              <a:gd name="connsiteX5" fmla="*/ 1326096 w 8632154"/>
              <a:gd name="connsiteY5" fmla="*/ 5732390 h 6858000"/>
              <a:gd name="connsiteX6" fmla="*/ 2315345 w 8632154"/>
              <a:gd name="connsiteY6" fmla="*/ 3259269 h 6858000"/>
              <a:gd name="connsiteX7" fmla="*/ 4672086 w 8632154"/>
              <a:gd name="connsiteY7" fmla="*/ 2008159 h 6858000"/>
              <a:gd name="connsiteX8" fmla="*/ 5848499 w 8632154"/>
              <a:gd name="connsiteY8" fmla="*/ 9045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32154" h="6858000">
                <a:moveTo>
                  <a:pt x="6050384" y="0"/>
                </a:moveTo>
                <a:lnTo>
                  <a:pt x="8632154" y="0"/>
                </a:lnTo>
                <a:lnTo>
                  <a:pt x="8632154" y="6858000"/>
                </a:lnTo>
                <a:lnTo>
                  <a:pt x="0" y="6858000"/>
                </a:lnTo>
                <a:lnTo>
                  <a:pt x="17136" y="6850412"/>
                </a:lnTo>
                <a:cubicBezTo>
                  <a:pt x="500509" y="6620261"/>
                  <a:pt x="978767" y="6201556"/>
                  <a:pt x="1326096" y="5732390"/>
                </a:cubicBezTo>
                <a:cubicBezTo>
                  <a:pt x="1789202" y="5106837"/>
                  <a:pt x="1757679" y="3879973"/>
                  <a:pt x="2315345" y="3259269"/>
                </a:cubicBezTo>
                <a:cubicBezTo>
                  <a:pt x="2873010" y="2638564"/>
                  <a:pt x="4167763" y="2560976"/>
                  <a:pt x="4672086" y="2008159"/>
                </a:cubicBezTo>
                <a:cubicBezTo>
                  <a:pt x="5085790" y="1554678"/>
                  <a:pt x="4955167" y="563510"/>
                  <a:pt x="5848499" y="90459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7" name="Google Shape;1023;p41">
            <a:extLst>
              <a:ext uri="{FF2B5EF4-FFF2-40B4-BE49-F238E27FC236}">
                <a16:creationId xmlns:a16="http://schemas.microsoft.com/office/drawing/2014/main" id="{E111C823-9906-4AD2-8EB4-35909D125165}"/>
              </a:ext>
            </a:extLst>
          </p:cNvPr>
          <p:cNvSpPr/>
          <p:nvPr/>
        </p:nvSpPr>
        <p:spPr>
          <a:xfrm>
            <a:off x="427735" y="1296773"/>
            <a:ext cx="11517337" cy="503046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EB30120B-9C99-4B62-9529-7A3FEBA87F21}"/>
              </a:ext>
            </a:extLst>
          </p:cNvPr>
          <p:cNvGrpSpPr/>
          <p:nvPr/>
        </p:nvGrpSpPr>
        <p:grpSpPr>
          <a:xfrm>
            <a:off x="541064" y="382712"/>
            <a:ext cx="2582174" cy="500937"/>
            <a:chOff x="423052" y="305730"/>
            <a:chExt cx="2582174" cy="500937"/>
          </a:xfrm>
          <a:gradFill>
            <a:gsLst>
              <a:gs pos="0">
                <a:srgbClr val="1669E0"/>
              </a:gs>
              <a:gs pos="100000">
                <a:srgbClr val="37A6FF"/>
              </a:gs>
            </a:gsLst>
            <a:lin ang="5400012" scaled="0"/>
          </a:gradFill>
        </p:grpSpPr>
        <p:sp>
          <p:nvSpPr>
            <p:cNvPr id="21" name="Rectangle: Rounded Corners 34">
              <a:extLst>
                <a:ext uri="{FF2B5EF4-FFF2-40B4-BE49-F238E27FC236}">
                  <a16:creationId xmlns:a16="http://schemas.microsoft.com/office/drawing/2014/main" id="{B5D4A748-0DE1-4A85-B0B3-1CD6F753EFB0}"/>
                </a:ext>
              </a:extLst>
            </p:cNvPr>
            <p:cNvSpPr/>
            <p:nvPr/>
          </p:nvSpPr>
          <p:spPr>
            <a:xfrm>
              <a:off x="815816" y="305730"/>
              <a:ext cx="1830269" cy="50093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r>
                <a:rPr lang="en-US">
                  <a:solidFill>
                    <a:prstClr val="white"/>
                  </a:solidFill>
                  <a:cs typeface="+mn-ea"/>
                  <a:sym typeface="+mn-lt"/>
                </a:rPr>
                <a:t> </a:t>
              </a:r>
              <a:endParaRPr lang="en-US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2" name="iṩļïḓè">
              <a:extLst>
                <a:ext uri="{FF2B5EF4-FFF2-40B4-BE49-F238E27FC236}">
                  <a16:creationId xmlns:a16="http://schemas.microsoft.com/office/drawing/2014/main" id="{0A51B54A-BFBA-4C10-B737-6EBE2D033ED5}"/>
                </a:ext>
              </a:extLst>
            </p:cNvPr>
            <p:cNvSpPr txBox="1"/>
            <p:nvPr/>
          </p:nvSpPr>
          <p:spPr bwMode="auto">
            <a:xfrm>
              <a:off x="943549" y="407694"/>
              <a:ext cx="1534794" cy="33865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solidFill>
                    <a:prstClr val="white"/>
                  </a:solidFill>
                  <a:latin typeface="Calibri" panose="020F05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dist" defTabSz="914400"/>
              <a:r>
                <a:rPr lang="en-US" altLang="zh-CN" sz="1400" dirty="0">
                  <a:solidFill>
                    <a:srgbClr val="0F65B4"/>
                  </a:solidFill>
                  <a:cs typeface="+mn-ea"/>
                  <a:sym typeface="+mn-lt"/>
                </a:rPr>
                <a:t>Jpppt.com</a:t>
              </a:r>
            </a:p>
          </p:txBody>
        </p: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44168853-E355-430A-BEEB-45BFFA0DC82A}"/>
                </a:ext>
              </a:extLst>
            </p:cNvPr>
            <p:cNvSpPr/>
            <p:nvPr/>
          </p:nvSpPr>
          <p:spPr>
            <a:xfrm>
              <a:off x="423052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4" name="椭圆 23">
              <a:extLst>
                <a:ext uri="{FF2B5EF4-FFF2-40B4-BE49-F238E27FC236}">
                  <a16:creationId xmlns:a16="http://schemas.microsoft.com/office/drawing/2014/main" id="{805D7B7E-4A00-4830-8C2C-29340158B0CF}"/>
                </a:ext>
              </a:extLst>
            </p:cNvPr>
            <p:cNvSpPr/>
            <p:nvPr/>
          </p:nvSpPr>
          <p:spPr>
            <a:xfrm>
              <a:off x="2800384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  <p:cxnSp>
        <p:nvCxnSpPr>
          <p:cNvPr id="30" name="Straight Connector 32">
            <a:extLst>
              <a:ext uri="{FF2B5EF4-FFF2-40B4-BE49-F238E27FC236}">
                <a16:creationId xmlns:a16="http://schemas.microsoft.com/office/drawing/2014/main" id="{1E813519-CA7A-4CD9-9001-ED8EB64B9E97}"/>
              </a:ext>
            </a:extLst>
          </p:cNvPr>
          <p:cNvCxnSpPr>
            <a:cxnSpLocks/>
            <a:endCxn id="58" idx="6"/>
          </p:cNvCxnSpPr>
          <p:nvPr/>
        </p:nvCxnSpPr>
        <p:spPr>
          <a:xfrm>
            <a:off x="2918395" y="3606723"/>
            <a:ext cx="7903266" cy="9490"/>
          </a:xfrm>
          <a:prstGeom prst="line">
            <a:avLst/>
          </a:prstGeom>
          <a:ln w="15875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5">
            <a:extLst>
              <a:ext uri="{FF2B5EF4-FFF2-40B4-BE49-F238E27FC236}">
                <a16:creationId xmlns:a16="http://schemas.microsoft.com/office/drawing/2014/main" id="{98A13119-9134-448C-B304-B3C2D2AAC5FA}"/>
              </a:ext>
            </a:extLst>
          </p:cNvPr>
          <p:cNvGrpSpPr/>
          <p:nvPr/>
        </p:nvGrpSpPr>
        <p:grpSpPr>
          <a:xfrm>
            <a:off x="5263855" y="3203063"/>
            <a:ext cx="826299" cy="826299"/>
            <a:chOff x="756775" y="2579239"/>
            <a:chExt cx="826299" cy="826299"/>
          </a:xfrm>
        </p:grpSpPr>
        <p:sp>
          <p:nvSpPr>
            <p:cNvPr id="32" name="TextBox 33">
              <a:extLst>
                <a:ext uri="{FF2B5EF4-FFF2-40B4-BE49-F238E27FC236}">
                  <a16:creationId xmlns:a16="http://schemas.microsoft.com/office/drawing/2014/main" id="{34315BC0-327A-402E-88B9-C9935B4B2D2C}"/>
                </a:ext>
              </a:extLst>
            </p:cNvPr>
            <p:cNvSpPr txBox="1"/>
            <p:nvPr/>
          </p:nvSpPr>
          <p:spPr>
            <a:xfrm>
              <a:off x="756775" y="2579239"/>
              <a:ext cx="826299" cy="826299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-457200" algn="ctr" defTabSz="914400" fontAlgn="auto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 kumimoji="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1"/>
              <a:endParaRPr lang="en-ID"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33" name="TextBox 34">
              <a:extLst>
                <a:ext uri="{FF2B5EF4-FFF2-40B4-BE49-F238E27FC236}">
                  <a16:creationId xmlns:a16="http://schemas.microsoft.com/office/drawing/2014/main" id="{38C9A20A-AE48-42C5-9138-D7A66EA42EBD}"/>
                </a:ext>
              </a:extLst>
            </p:cNvPr>
            <p:cNvSpPr txBox="1"/>
            <p:nvPr/>
          </p:nvSpPr>
          <p:spPr>
            <a:xfrm>
              <a:off x="882525" y="2704989"/>
              <a:ext cx="574800" cy="574800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-457200" algn="ctr" defTabSz="914400" fontAlgn="auto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 kumimoji="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1"/>
              <a:endParaRPr lang="en-ID">
                <a:latin typeface="+mn-lt"/>
                <a:cs typeface="+mn-ea"/>
                <a:sym typeface="+mn-lt"/>
              </a:endParaRPr>
            </a:p>
          </p:txBody>
        </p:sp>
      </p:grpSp>
      <p:grpSp>
        <p:nvGrpSpPr>
          <p:cNvPr id="34" name="Group 36">
            <a:extLst>
              <a:ext uri="{FF2B5EF4-FFF2-40B4-BE49-F238E27FC236}">
                <a16:creationId xmlns:a16="http://schemas.microsoft.com/office/drawing/2014/main" id="{5A7A727F-B667-474A-8CDC-EF22DEE74E68}"/>
              </a:ext>
            </a:extLst>
          </p:cNvPr>
          <p:cNvGrpSpPr/>
          <p:nvPr/>
        </p:nvGrpSpPr>
        <p:grpSpPr>
          <a:xfrm>
            <a:off x="7732670" y="3203063"/>
            <a:ext cx="826299" cy="826299"/>
            <a:chOff x="756775" y="2579239"/>
            <a:chExt cx="826299" cy="826299"/>
          </a:xfrm>
        </p:grpSpPr>
        <p:sp>
          <p:nvSpPr>
            <p:cNvPr id="35" name="TextBox 37">
              <a:extLst>
                <a:ext uri="{FF2B5EF4-FFF2-40B4-BE49-F238E27FC236}">
                  <a16:creationId xmlns:a16="http://schemas.microsoft.com/office/drawing/2014/main" id="{5FC80FBC-5A64-4CA8-A8BB-780E5FD6AF07}"/>
                </a:ext>
              </a:extLst>
            </p:cNvPr>
            <p:cNvSpPr txBox="1"/>
            <p:nvPr/>
          </p:nvSpPr>
          <p:spPr>
            <a:xfrm>
              <a:off x="756775" y="2579239"/>
              <a:ext cx="826299" cy="826299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-457200" algn="ctr" defTabSz="914400" fontAlgn="auto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 kumimoji="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1"/>
              <a:endParaRPr lang="en-ID"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36" name="TextBox 38">
              <a:extLst>
                <a:ext uri="{FF2B5EF4-FFF2-40B4-BE49-F238E27FC236}">
                  <a16:creationId xmlns:a16="http://schemas.microsoft.com/office/drawing/2014/main" id="{FC57687C-8308-4A1A-AFC7-D1562030F996}"/>
                </a:ext>
              </a:extLst>
            </p:cNvPr>
            <p:cNvSpPr txBox="1"/>
            <p:nvPr/>
          </p:nvSpPr>
          <p:spPr>
            <a:xfrm>
              <a:off x="882525" y="2704989"/>
              <a:ext cx="574800" cy="574800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-457200" algn="ctr" defTabSz="914400" fontAlgn="auto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 kumimoji="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1"/>
              <a:endParaRPr lang="en-ID">
                <a:latin typeface="+mn-lt"/>
                <a:cs typeface="+mn-ea"/>
                <a:sym typeface="+mn-lt"/>
              </a:endParaRPr>
            </a:p>
          </p:txBody>
        </p:sp>
      </p:grpSp>
      <p:sp>
        <p:nvSpPr>
          <p:cNvPr id="38" name="Isosceles Triangle 47">
            <a:extLst>
              <a:ext uri="{FF2B5EF4-FFF2-40B4-BE49-F238E27FC236}">
                <a16:creationId xmlns:a16="http://schemas.microsoft.com/office/drawing/2014/main" id="{773CB0E4-45BA-487B-B742-CD22AE616248}"/>
              </a:ext>
            </a:extLst>
          </p:cNvPr>
          <p:cNvSpPr/>
          <p:nvPr/>
        </p:nvSpPr>
        <p:spPr>
          <a:xfrm>
            <a:off x="5605566" y="3081172"/>
            <a:ext cx="142875" cy="123168"/>
          </a:xfrm>
          <a:prstGeom prst="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9" name="Isosceles Triangle 48">
            <a:extLst>
              <a:ext uri="{FF2B5EF4-FFF2-40B4-BE49-F238E27FC236}">
                <a16:creationId xmlns:a16="http://schemas.microsoft.com/office/drawing/2014/main" id="{C63E6190-4128-48B3-8A0C-58C9897BE812}"/>
              </a:ext>
            </a:extLst>
          </p:cNvPr>
          <p:cNvSpPr/>
          <p:nvPr/>
        </p:nvSpPr>
        <p:spPr>
          <a:xfrm rot="10800000">
            <a:off x="8074382" y="4025649"/>
            <a:ext cx="142875" cy="123168"/>
          </a:xfrm>
          <a:prstGeom prst="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pic>
        <p:nvPicPr>
          <p:cNvPr id="50" name="Graphic 51">
            <a:extLst>
              <a:ext uri="{FF2B5EF4-FFF2-40B4-BE49-F238E27FC236}">
                <a16:creationId xmlns:a16="http://schemas.microsoft.com/office/drawing/2014/main" id="{3A5C412E-1E61-4DD2-AB5D-CC23FA8B247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54097" y="3475746"/>
            <a:ext cx="245816" cy="280932"/>
          </a:xfrm>
          <a:prstGeom prst="rect">
            <a:avLst/>
          </a:prstGeom>
        </p:spPr>
      </p:pic>
      <p:pic>
        <p:nvPicPr>
          <p:cNvPr id="51" name="Graphic 52">
            <a:extLst>
              <a:ext uri="{FF2B5EF4-FFF2-40B4-BE49-F238E27FC236}">
                <a16:creationId xmlns:a16="http://schemas.microsoft.com/office/drawing/2014/main" id="{880C2698-0597-44D9-9493-9FA5E35EF80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34617" y="3475746"/>
            <a:ext cx="222406" cy="280932"/>
          </a:xfrm>
          <a:prstGeom prst="rect">
            <a:avLst/>
          </a:prstGeom>
        </p:spPr>
      </p:pic>
      <p:pic>
        <p:nvPicPr>
          <p:cNvPr id="3" name="图片 2">
            <a:extLst>
              <a:ext uri="{FF2B5EF4-FFF2-40B4-BE49-F238E27FC236}">
                <a16:creationId xmlns:a16="http://schemas.microsoft.com/office/drawing/2014/main" id="{FEE62007-0D42-441E-963B-D6197049AF0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164" y="2529214"/>
            <a:ext cx="3821745" cy="2729818"/>
          </a:xfrm>
          <a:prstGeom prst="rect">
            <a:avLst/>
          </a:prstGeom>
        </p:spPr>
      </p:pic>
      <p:sp>
        <p:nvSpPr>
          <p:cNvPr id="54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F1FA66BF-0776-4700-B3BE-3B76BCDD265E}"/>
              </a:ext>
            </a:extLst>
          </p:cNvPr>
          <p:cNvSpPr txBox="1"/>
          <p:nvPr/>
        </p:nvSpPr>
        <p:spPr>
          <a:xfrm>
            <a:off x="4507432" y="4230122"/>
            <a:ext cx="2381915" cy="1229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svg="http://schemas.microsoft.com/office/drawing/2016/SVG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grpSp>
        <p:nvGrpSpPr>
          <p:cNvPr id="56" name="Group 35">
            <a:extLst>
              <a:ext uri="{FF2B5EF4-FFF2-40B4-BE49-F238E27FC236}">
                <a16:creationId xmlns:a16="http://schemas.microsoft.com/office/drawing/2014/main" id="{EB870C2F-9EF3-4D63-B40B-0E13B7EE41F8}"/>
              </a:ext>
            </a:extLst>
          </p:cNvPr>
          <p:cNvGrpSpPr/>
          <p:nvPr/>
        </p:nvGrpSpPr>
        <p:grpSpPr>
          <a:xfrm>
            <a:off x="10121111" y="3203063"/>
            <a:ext cx="826299" cy="826299"/>
            <a:chOff x="756775" y="2579239"/>
            <a:chExt cx="826299" cy="826299"/>
          </a:xfrm>
        </p:grpSpPr>
        <p:sp>
          <p:nvSpPr>
            <p:cNvPr id="57" name="TextBox 33">
              <a:extLst>
                <a:ext uri="{FF2B5EF4-FFF2-40B4-BE49-F238E27FC236}">
                  <a16:creationId xmlns:a16="http://schemas.microsoft.com/office/drawing/2014/main" id="{69870DCE-F858-4464-8350-C8A1C4F92E36}"/>
                </a:ext>
              </a:extLst>
            </p:cNvPr>
            <p:cNvSpPr txBox="1"/>
            <p:nvPr/>
          </p:nvSpPr>
          <p:spPr>
            <a:xfrm>
              <a:off x="756775" y="2579239"/>
              <a:ext cx="826299" cy="826299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-457200" algn="ctr" defTabSz="914400" fontAlgn="auto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 kumimoji="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1"/>
              <a:endParaRPr lang="en-ID">
                <a:latin typeface="+mn-lt"/>
                <a:cs typeface="+mn-ea"/>
                <a:sym typeface="+mn-lt"/>
              </a:endParaRPr>
            </a:p>
          </p:txBody>
        </p:sp>
        <p:sp>
          <p:nvSpPr>
            <p:cNvPr id="58" name="TextBox 34">
              <a:extLst>
                <a:ext uri="{FF2B5EF4-FFF2-40B4-BE49-F238E27FC236}">
                  <a16:creationId xmlns:a16="http://schemas.microsoft.com/office/drawing/2014/main" id="{5A5B0F9D-D5E7-4A08-A307-019A75618917}"/>
                </a:ext>
              </a:extLst>
            </p:cNvPr>
            <p:cNvSpPr txBox="1"/>
            <p:nvPr/>
          </p:nvSpPr>
          <p:spPr>
            <a:xfrm>
              <a:off x="882525" y="2704989"/>
              <a:ext cx="574800" cy="574800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marR="0" lvl="0" indent="-457200" algn="ctr" defTabSz="914400" fontAlgn="auto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 kumimoji="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</a:defRPr>
              </a:lvl1pPr>
              <a:lvl2pPr marL="0" lvl="1" indent="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None/>
                <a:defRPr>
                  <a:latin typeface="Calibri" panose="020F0502020204030204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1"/>
              <a:endParaRPr lang="en-ID">
                <a:latin typeface="+mn-lt"/>
                <a:cs typeface="+mn-ea"/>
                <a:sym typeface="+mn-lt"/>
              </a:endParaRPr>
            </a:p>
          </p:txBody>
        </p:sp>
      </p:grpSp>
      <p:sp>
        <p:nvSpPr>
          <p:cNvPr id="59" name="Isosceles Triangle 47">
            <a:extLst>
              <a:ext uri="{FF2B5EF4-FFF2-40B4-BE49-F238E27FC236}">
                <a16:creationId xmlns:a16="http://schemas.microsoft.com/office/drawing/2014/main" id="{E78A5035-7471-4F79-B726-EF26E7DBA1FC}"/>
              </a:ext>
            </a:extLst>
          </p:cNvPr>
          <p:cNvSpPr/>
          <p:nvPr/>
        </p:nvSpPr>
        <p:spPr>
          <a:xfrm>
            <a:off x="10462822" y="3081172"/>
            <a:ext cx="142875" cy="123168"/>
          </a:xfrm>
          <a:prstGeom prst="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pic>
        <p:nvPicPr>
          <p:cNvPr id="60" name="Graphic 51">
            <a:extLst>
              <a:ext uri="{FF2B5EF4-FFF2-40B4-BE49-F238E27FC236}">
                <a16:creationId xmlns:a16="http://schemas.microsoft.com/office/drawing/2014/main" id="{44D2F4AD-0BD7-4C30-A482-A09D2B38459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11353" y="3475746"/>
            <a:ext cx="245816" cy="280932"/>
          </a:xfrm>
          <a:prstGeom prst="rect">
            <a:avLst/>
          </a:prstGeom>
        </p:spPr>
      </p:pic>
      <p:sp>
        <p:nvSpPr>
          <p:cNvPr id="62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C5E35FA3-1CE2-4C02-901A-22D890B9C785}"/>
              </a:ext>
            </a:extLst>
          </p:cNvPr>
          <p:cNvSpPr txBox="1"/>
          <p:nvPr/>
        </p:nvSpPr>
        <p:spPr>
          <a:xfrm>
            <a:off x="6870028" y="1758661"/>
            <a:ext cx="2381915" cy="1229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svg="http://schemas.microsoft.com/office/drawing/2016/SVG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6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5C139608-7F7C-4525-B5BC-C2A67A67DFFF}"/>
              </a:ext>
            </a:extLst>
          </p:cNvPr>
          <p:cNvSpPr txBox="1"/>
          <p:nvPr/>
        </p:nvSpPr>
        <p:spPr>
          <a:xfrm>
            <a:off x="9251943" y="4230122"/>
            <a:ext cx="2381915" cy="1229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svg="http://schemas.microsoft.com/office/drawing/2016/SVG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</p:spTree>
    <p:extLst>
      <p:ext uri="{BB962C8B-B14F-4D97-AF65-F5344CB8AC3E}">
        <p14:creationId xmlns:p14="http://schemas.microsoft.com/office/powerpoint/2010/main" val="6699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svg="http://schemas.microsoft.com/office/drawing/2016/SVG/main" xmlns:a14="http://schemas.microsoft.com/office/drawing/2010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62" grpId="0" animBg="1"/>
      <p:bldP spid="6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C37D7D94-A4F8-436E-A575-EF167AFBCF7C}"/>
              </a:ext>
            </a:extLst>
          </p:cNvPr>
          <p:cNvCxnSpPr>
            <a:cxnSpLocks/>
          </p:cNvCxnSpPr>
          <p:nvPr/>
        </p:nvCxnSpPr>
        <p:spPr>
          <a:xfrm flipV="1">
            <a:off x="1108711" y="5502156"/>
            <a:ext cx="4543026" cy="7974"/>
          </a:xfrm>
          <a:prstGeom prst="line">
            <a:avLst/>
          </a:prstGeom>
          <a:ln w="12700" cap="rnd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A27ABDB-8549-4CFC-8E4E-B98508D1A959}"/>
              </a:ext>
            </a:extLst>
          </p:cNvPr>
          <p:cNvSpPr/>
          <p:nvPr/>
        </p:nvSpPr>
        <p:spPr>
          <a:xfrm rot="10800000">
            <a:off x="7931349" y="0"/>
            <a:ext cx="4260647" cy="1843807"/>
          </a:xfrm>
          <a:custGeom>
            <a:avLst/>
            <a:gdLst>
              <a:gd name="connsiteX0" fmla="*/ 4260647 w 4260647"/>
              <a:gd name="connsiteY0" fmla="*/ 4915504 h 4915504"/>
              <a:gd name="connsiteX1" fmla="*/ 0 w 4260647"/>
              <a:gd name="connsiteY1" fmla="*/ 4915504 h 4915504"/>
              <a:gd name="connsiteX2" fmla="*/ 0 w 4260647"/>
              <a:gd name="connsiteY2" fmla="*/ 2541 h 4915504"/>
              <a:gd name="connsiteX3" fmla="*/ 753 w 4260647"/>
              <a:gd name="connsiteY3" fmla="*/ 2348 h 4915504"/>
              <a:gd name="connsiteX4" fmla="*/ 52945 w 4260647"/>
              <a:gd name="connsiteY4" fmla="*/ 674 h 4915504"/>
              <a:gd name="connsiteX5" fmla="*/ 504441 w 4260647"/>
              <a:gd name="connsiteY5" fmla="*/ 470286 h 4915504"/>
              <a:gd name="connsiteX6" fmla="*/ 961863 w 4260647"/>
              <a:gd name="connsiteY6" fmla="*/ 3422670 h 4915504"/>
              <a:gd name="connsiteX7" fmla="*/ 4052727 w 4260647"/>
              <a:gd name="connsiteY7" fmla="*/ 4678281 h 4915504"/>
              <a:gd name="connsiteX8" fmla="*/ 4182626 w 4260647"/>
              <a:gd name="connsiteY8" fmla="*/ 4809547 h 491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260647" h="4915504">
                <a:moveTo>
                  <a:pt x="4260647" y="4915504"/>
                </a:moveTo>
                <a:lnTo>
                  <a:pt x="0" y="4915504"/>
                </a:lnTo>
                <a:lnTo>
                  <a:pt x="0" y="2541"/>
                </a:lnTo>
                <a:lnTo>
                  <a:pt x="753" y="2348"/>
                </a:lnTo>
                <a:cubicBezTo>
                  <a:pt x="17819" y="-62"/>
                  <a:pt x="35256" y="-613"/>
                  <a:pt x="52945" y="674"/>
                </a:cubicBezTo>
                <a:cubicBezTo>
                  <a:pt x="212145" y="12257"/>
                  <a:pt x="391718" y="172820"/>
                  <a:pt x="504441" y="470286"/>
                </a:cubicBezTo>
                <a:cubicBezTo>
                  <a:pt x="704835" y="999113"/>
                  <a:pt x="370481" y="2721338"/>
                  <a:pt x="961863" y="3422670"/>
                </a:cubicBezTo>
                <a:cubicBezTo>
                  <a:pt x="1553243" y="4124002"/>
                  <a:pt x="3448277" y="4155110"/>
                  <a:pt x="4052727" y="4678281"/>
                </a:cubicBezTo>
                <a:cubicBezTo>
                  <a:pt x="4099949" y="4719154"/>
                  <a:pt x="4143137" y="4763099"/>
                  <a:pt x="4182626" y="4809547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ACE311CC-2A7E-4437-A2BA-54D6597BDD16}"/>
              </a:ext>
            </a:extLst>
          </p:cNvPr>
          <p:cNvSpPr/>
          <p:nvPr/>
        </p:nvSpPr>
        <p:spPr>
          <a:xfrm>
            <a:off x="2" y="4404166"/>
            <a:ext cx="3904341" cy="2453834"/>
          </a:xfrm>
          <a:custGeom>
            <a:avLst/>
            <a:gdLst>
              <a:gd name="connsiteX0" fmla="*/ 82743 w 7167829"/>
              <a:gd name="connsiteY0" fmla="*/ 504 h 4504899"/>
              <a:gd name="connsiteX1" fmla="*/ 788343 w 7167829"/>
              <a:gd name="connsiteY1" fmla="*/ 351999 h 4504899"/>
              <a:gd name="connsiteX2" fmla="*/ 1503205 w 7167829"/>
              <a:gd name="connsiteY2" fmla="*/ 2561799 h 4504899"/>
              <a:gd name="connsiteX3" fmla="*/ 6333627 w 7167829"/>
              <a:gd name="connsiteY3" fmla="*/ 3501599 h 4504899"/>
              <a:gd name="connsiteX4" fmla="*/ 7163377 w 7167829"/>
              <a:gd name="connsiteY4" fmla="*/ 4458750 h 4504899"/>
              <a:gd name="connsiteX5" fmla="*/ 7167829 w 7167829"/>
              <a:gd name="connsiteY5" fmla="*/ 4504899 h 4504899"/>
              <a:gd name="connsiteX6" fmla="*/ 0 w 7167829"/>
              <a:gd name="connsiteY6" fmla="*/ 4504899 h 4504899"/>
              <a:gd name="connsiteX7" fmla="*/ 0 w 7167829"/>
              <a:gd name="connsiteY7" fmla="*/ 1902 h 4504899"/>
              <a:gd name="connsiteX8" fmla="*/ 1177 w 7167829"/>
              <a:gd name="connsiteY8" fmla="*/ 1757 h 4504899"/>
              <a:gd name="connsiteX9" fmla="*/ 82743 w 7167829"/>
              <a:gd name="connsiteY9" fmla="*/ 504 h 4504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167829" h="4504899">
                <a:moveTo>
                  <a:pt x="82743" y="504"/>
                </a:moveTo>
                <a:cubicBezTo>
                  <a:pt x="331541" y="9174"/>
                  <a:pt x="612180" y="129352"/>
                  <a:pt x="788343" y="351999"/>
                </a:cubicBezTo>
                <a:cubicBezTo>
                  <a:pt x="1101521" y="747816"/>
                  <a:pt x="578990" y="2036866"/>
                  <a:pt x="1503205" y="2561799"/>
                </a:cubicBezTo>
                <a:cubicBezTo>
                  <a:pt x="2427419" y="3086732"/>
                  <a:pt x="5388989" y="3110016"/>
                  <a:pt x="6333627" y="3501599"/>
                </a:cubicBezTo>
                <a:cubicBezTo>
                  <a:pt x="6924026" y="3746339"/>
                  <a:pt x="7110853" y="4138253"/>
                  <a:pt x="7163377" y="4458750"/>
                </a:cubicBezTo>
                <a:lnTo>
                  <a:pt x="7167829" y="4504899"/>
                </a:lnTo>
                <a:lnTo>
                  <a:pt x="0" y="4504899"/>
                </a:lnTo>
                <a:lnTo>
                  <a:pt x="0" y="1902"/>
                </a:lnTo>
                <a:lnTo>
                  <a:pt x="1177" y="1757"/>
                </a:lnTo>
                <a:cubicBezTo>
                  <a:pt x="27848" y="-46"/>
                  <a:pt x="55099" y="-459"/>
                  <a:pt x="82743" y="504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09" name="Rectangle: Top Corners Rounded 108">
            <a:extLst>
              <a:ext uri="{FF2B5EF4-FFF2-40B4-BE49-F238E27FC236}">
                <a16:creationId xmlns:a16="http://schemas.microsoft.com/office/drawing/2014/main" id="{7EA4BE78-A87E-49DA-AD4A-C82DD45C010F}"/>
              </a:ext>
            </a:extLst>
          </p:cNvPr>
          <p:cNvSpPr/>
          <p:nvPr/>
        </p:nvSpPr>
        <p:spPr>
          <a:xfrm rot="5400000">
            <a:off x="4954966" y="2974878"/>
            <a:ext cx="4735270" cy="2046879"/>
          </a:xfrm>
          <a:prstGeom prst="round2SameRect">
            <a:avLst>
              <a:gd name="adj1" fmla="val 6698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515B44F5-A693-45A8-BBD3-32EE760CFAAF}"/>
              </a:ext>
            </a:extLst>
          </p:cNvPr>
          <p:cNvSpPr txBox="1"/>
          <p:nvPr/>
        </p:nvSpPr>
        <p:spPr>
          <a:xfrm rot="2700000">
            <a:off x="8061296" y="2087565"/>
            <a:ext cx="569491" cy="569491"/>
          </a:xfrm>
          <a:prstGeom prst="roundRect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>
              <a:latin typeface="+mn-lt"/>
              <a:cs typeface="+mn-ea"/>
              <a:sym typeface="+mn-lt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6FD3BD7C-B535-46F9-ABDD-D8B966550A10}"/>
              </a:ext>
            </a:extLst>
          </p:cNvPr>
          <p:cNvSpPr txBox="1"/>
          <p:nvPr/>
        </p:nvSpPr>
        <p:spPr>
          <a:xfrm rot="2700000">
            <a:off x="8061296" y="3166253"/>
            <a:ext cx="569491" cy="569491"/>
          </a:xfrm>
          <a:prstGeom prst="roundRect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>
              <a:latin typeface="+mn-lt"/>
              <a:cs typeface="+mn-ea"/>
              <a:sym typeface="+mn-lt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32CE7057-598E-4B14-A191-611F223CEC81}"/>
              </a:ext>
            </a:extLst>
          </p:cNvPr>
          <p:cNvSpPr txBox="1"/>
          <p:nvPr/>
        </p:nvSpPr>
        <p:spPr>
          <a:xfrm rot="2700000">
            <a:off x="8061296" y="4244941"/>
            <a:ext cx="569491" cy="569491"/>
          </a:xfrm>
          <a:prstGeom prst="roundRect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>
              <a:latin typeface="+mn-lt"/>
              <a:cs typeface="+mn-ea"/>
              <a:sym typeface="+mn-lt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39C50FF7-4007-4DD5-B2CD-2FF21F32D399}"/>
              </a:ext>
            </a:extLst>
          </p:cNvPr>
          <p:cNvSpPr txBox="1"/>
          <p:nvPr/>
        </p:nvSpPr>
        <p:spPr>
          <a:xfrm rot="2700000">
            <a:off x="8061296" y="5323630"/>
            <a:ext cx="569491" cy="569491"/>
          </a:xfrm>
          <a:prstGeom prst="roundRect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>
              <a:latin typeface="+mn-lt"/>
              <a:cs typeface="+mn-ea"/>
              <a:sym typeface="+mn-lt"/>
            </a:endParaRPr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9684358E-0C5B-4762-881B-29A9B1DF8F78}"/>
              </a:ext>
            </a:extLst>
          </p:cNvPr>
          <p:cNvCxnSpPr>
            <a:cxnSpLocks/>
          </p:cNvCxnSpPr>
          <p:nvPr/>
        </p:nvCxnSpPr>
        <p:spPr>
          <a:xfrm>
            <a:off x="8994242" y="2911655"/>
            <a:ext cx="3197755" cy="0"/>
          </a:xfrm>
          <a:prstGeom prst="line">
            <a:avLst/>
          </a:prstGeom>
          <a:ln cap="rnd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10183A3C-9396-42AF-ADDC-6305368C24C4}"/>
              </a:ext>
            </a:extLst>
          </p:cNvPr>
          <p:cNvCxnSpPr>
            <a:cxnSpLocks/>
          </p:cNvCxnSpPr>
          <p:nvPr/>
        </p:nvCxnSpPr>
        <p:spPr>
          <a:xfrm>
            <a:off x="8994242" y="3990344"/>
            <a:ext cx="3197755" cy="0"/>
          </a:xfrm>
          <a:prstGeom prst="line">
            <a:avLst/>
          </a:prstGeom>
          <a:ln cap="rnd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3F870E11-7C35-4B24-9E8E-D9B0DA0D34C2}"/>
              </a:ext>
            </a:extLst>
          </p:cNvPr>
          <p:cNvCxnSpPr>
            <a:cxnSpLocks/>
          </p:cNvCxnSpPr>
          <p:nvPr/>
        </p:nvCxnSpPr>
        <p:spPr>
          <a:xfrm>
            <a:off x="8994242" y="5069033"/>
            <a:ext cx="3197755" cy="0"/>
          </a:xfrm>
          <a:prstGeom prst="line">
            <a:avLst/>
          </a:prstGeom>
          <a:ln cap="rnd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4895EED9-E563-4E6A-8B3E-5657FF093056}"/>
              </a:ext>
            </a:extLst>
          </p:cNvPr>
          <p:cNvGrpSpPr/>
          <p:nvPr/>
        </p:nvGrpSpPr>
        <p:grpSpPr>
          <a:xfrm>
            <a:off x="8182240" y="5492199"/>
            <a:ext cx="327603" cy="232352"/>
            <a:chOff x="8489960" y="6330552"/>
            <a:chExt cx="360363" cy="255587"/>
          </a:xfrm>
        </p:grpSpPr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72A38F6F-746C-49FD-9DA9-EC67749F3385}"/>
                </a:ext>
              </a:extLst>
            </p:cNvPr>
            <p:cNvGrpSpPr/>
            <p:nvPr/>
          </p:nvGrpSpPr>
          <p:grpSpPr>
            <a:xfrm>
              <a:off x="8489960" y="6330552"/>
              <a:ext cx="90488" cy="255587"/>
              <a:chOff x="8489960" y="6330552"/>
              <a:chExt cx="90488" cy="255587"/>
            </a:xfrm>
            <a:solidFill>
              <a:schemeClr val="bg1"/>
            </a:solidFill>
          </p:grpSpPr>
          <p:sp>
            <p:nvSpPr>
              <p:cNvPr id="136" name="Freeform 1731">
                <a:extLst>
                  <a:ext uri="{FF2B5EF4-FFF2-40B4-BE49-F238E27FC236}">
                    <a16:creationId xmlns:a16="http://schemas.microsoft.com/office/drawing/2014/main" id="{A9910E4E-F297-4D1D-AFA7-64D2AA656DF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89960" y="6330552"/>
                <a:ext cx="90488" cy="90488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137" name="Freeform 1732">
                <a:extLst>
                  <a:ext uri="{FF2B5EF4-FFF2-40B4-BE49-F238E27FC236}">
                    <a16:creationId xmlns:a16="http://schemas.microsoft.com/office/drawing/2014/main" id="{2BCE41AB-7C3F-472D-91B5-65C1201B74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489960" y="6436914"/>
                <a:ext cx="90488" cy="149225"/>
              </a:xfrm>
              <a:custGeom>
                <a:avLst/>
                <a:gdLst>
                  <a:gd name="T0" fmla="*/ 22 w 24"/>
                  <a:gd name="T1" fmla="*/ 40 h 40"/>
                  <a:gd name="T2" fmla="*/ 2 w 24"/>
                  <a:gd name="T3" fmla="*/ 40 h 40"/>
                  <a:gd name="T4" fmla="*/ 0 w 24"/>
                  <a:gd name="T5" fmla="*/ 38 h 40"/>
                  <a:gd name="T6" fmla="*/ 0 w 24"/>
                  <a:gd name="T7" fmla="*/ 12 h 40"/>
                  <a:gd name="T8" fmla="*/ 12 w 24"/>
                  <a:gd name="T9" fmla="*/ 0 h 40"/>
                  <a:gd name="T10" fmla="*/ 24 w 24"/>
                  <a:gd name="T11" fmla="*/ 12 h 40"/>
                  <a:gd name="T12" fmla="*/ 24 w 24"/>
                  <a:gd name="T13" fmla="*/ 38 h 40"/>
                  <a:gd name="T14" fmla="*/ 22 w 24"/>
                  <a:gd name="T15" fmla="*/ 40 h 40"/>
                  <a:gd name="T16" fmla="*/ 4 w 24"/>
                  <a:gd name="T17" fmla="*/ 36 h 40"/>
                  <a:gd name="T18" fmla="*/ 20 w 24"/>
                  <a:gd name="T19" fmla="*/ 36 h 40"/>
                  <a:gd name="T20" fmla="*/ 20 w 24"/>
                  <a:gd name="T21" fmla="*/ 12 h 40"/>
                  <a:gd name="T22" fmla="*/ 12 w 24"/>
                  <a:gd name="T23" fmla="*/ 4 h 40"/>
                  <a:gd name="T24" fmla="*/ 4 w 24"/>
                  <a:gd name="T25" fmla="*/ 12 h 40"/>
                  <a:gd name="T26" fmla="*/ 4 w 24"/>
                  <a:gd name="T27" fmla="*/ 3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40">
                    <a:moveTo>
                      <a:pt x="22" y="40"/>
                    </a:move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9"/>
                      <a:pt x="23" y="40"/>
                      <a:pt x="22" y="40"/>
                    </a:cubicBezTo>
                    <a:close/>
                    <a:moveTo>
                      <a:pt x="4" y="36"/>
                    </a:move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ubicBezTo>
                      <a:pt x="8" y="4"/>
                      <a:pt x="4" y="8"/>
                      <a:pt x="4" y="12"/>
                    </a:cubicBezTo>
                    <a:lnTo>
                      <a:pt x="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55297E3E-8BB2-44D8-9853-3AD3DC60CAB4}"/>
                </a:ext>
              </a:extLst>
            </p:cNvPr>
            <p:cNvGrpSpPr/>
            <p:nvPr/>
          </p:nvGrpSpPr>
          <p:grpSpPr>
            <a:xfrm>
              <a:off x="8759835" y="6330552"/>
              <a:ext cx="90488" cy="255587"/>
              <a:chOff x="8759835" y="6330552"/>
              <a:chExt cx="90488" cy="255587"/>
            </a:xfrm>
            <a:solidFill>
              <a:schemeClr val="bg1"/>
            </a:solidFill>
          </p:grpSpPr>
          <p:sp>
            <p:nvSpPr>
              <p:cNvPr id="138" name="Freeform 1733">
                <a:extLst>
                  <a:ext uri="{FF2B5EF4-FFF2-40B4-BE49-F238E27FC236}">
                    <a16:creationId xmlns:a16="http://schemas.microsoft.com/office/drawing/2014/main" id="{F81281BD-767C-43BF-9501-E0227B79AF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59835" y="6330552"/>
                <a:ext cx="90488" cy="90488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139" name="Freeform 1734">
                <a:extLst>
                  <a:ext uri="{FF2B5EF4-FFF2-40B4-BE49-F238E27FC236}">
                    <a16:creationId xmlns:a16="http://schemas.microsoft.com/office/drawing/2014/main" id="{0C51F55B-4DDF-4360-9134-A9E474EE20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59835" y="6436914"/>
                <a:ext cx="90488" cy="149225"/>
              </a:xfrm>
              <a:custGeom>
                <a:avLst/>
                <a:gdLst>
                  <a:gd name="T0" fmla="*/ 22 w 24"/>
                  <a:gd name="T1" fmla="*/ 40 h 40"/>
                  <a:gd name="T2" fmla="*/ 2 w 24"/>
                  <a:gd name="T3" fmla="*/ 40 h 40"/>
                  <a:gd name="T4" fmla="*/ 0 w 24"/>
                  <a:gd name="T5" fmla="*/ 38 h 40"/>
                  <a:gd name="T6" fmla="*/ 0 w 24"/>
                  <a:gd name="T7" fmla="*/ 12 h 40"/>
                  <a:gd name="T8" fmla="*/ 12 w 24"/>
                  <a:gd name="T9" fmla="*/ 0 h 40"/>
                  <a:gd name="T10" fmla="*/ 24 w 24"/>
                  <a:gd name="T11" fmla="*/ 12 h 40"/>
                  <a:gd name="T12" fmla="*/ 24 w 24"/>
                  <a:gd name="T13" fmla="*/ 38 h 40"/>
                  <a:gd name="T14" fmla="*/ 22 w 24"/>
                  <a:gd name="T15" fmla="*/ 40 h 40"/>
                  <a:gd name="T16" fmla="*/ 4 w 24"/>
                  <a:gd name="T17" fmla="*/ 36 h 40"/>
                  <a:gd name="T18" fmla="*/ 20 w 24"/>
                  <a:gd name="T19" fmla="*/ 36 h 40"/>
                  <a:gd name="T20" fmla="*/ 20 w 24"/>
                  <a:gd name="T21" fmla="*/ 12 h 40"/>
                  <a:gd name="T22" fmla="*/ 12 w 24"/>
                  <a:gd name="T23" fmla="*/ 4 h 40"/>
                  <a:gd name="T24" fmla="*/ 4 w 24"/>
                  <a:gd name="T25" fmla="*/ 12 h 40"/>
                  <a:gd name="T26" fmla="*/ 4 w 24"/>
                  <a:gd name="T27" fmla="*/ 3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" h="40">
                    <a:moveTo>
                      <a:pt x="22" y="40"/>
                    </a:move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39"/>
                      <a:pt x="0" y="3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38"/>
                      <a:pt x="24" y="38"/>
                      <a:pt x="24" y="38"/>
                    </a:cubicBezTo>
                    <a:cubicBezTo>
                      <a:pt x="24" y="39"/>
                      <a:pt x="23" y="40"/>
                      <a:pt x="22" y="40"/>
                    </a:cubicBezTo>
                    <a:close/>
                    <a:moveTo>
                      <a:pt x="4" y="36"/>
                    </a:moveTo>
                    <a:cubicBezTo>
                      <a:pt x="20" y="36"/>
                      <a:pt x="20" y="36"/>
                      <a:pt x="20" y="36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ubicBezTo>
                      <a:pt x="8" y="4"/>
                      <a:pt x="4" y="8"/>
                      <a:pt x="4" y="12"/>
                    </a:cubicBezTo>
                    <a:lnTo>
                      <a:pt x="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d-ID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1A54ACCB-BDD5-405A-AC2D-19D4F7D02D42}"/>
                </a:ext>
              </a:extLst>
            </p:cNvPr>
            <p:cNvGrpSpPr/>
            <p:nvPr/>
          </p:nvGrpSpPr>
          <p:grpSpPr>
            <a:xfrm>
              <a:off x="8616263" y="6429446"/>
              <a:ext cx="107756" cy="57798"/>
              <a:chOff x="8924925" y="6103144"/>
              <a:chExt cx="202406" cy="102394"/>
            </a:xfrm>
          </p:grpSpPr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73BDF67B-2FFB-4A4B-8CCD-45373676AB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4925" y="6103144"/>
                <a:ext cx="0" cy="102394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66DDBFF9-5EDB-47D7-9696-8318EC05D8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27331" y="6103144"/>
                <a:ext cx="0" cy="102394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203C055C-E5D2-4474-945D-3DFE8636D9B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924925" y="6154341"/>
                <a:ext cx="200025" cy="0"/>
              </a:xfrm>
              <a:prstGeom prst="line">
                <a:avLst/>
              </a:prstGeom>
              <a:ln w="127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B570ED0F-D1CA-40C2-948D-6A83A4207FA7}"/>
              </a:ext>
            </a:extLst>
          </p:cNvPr>
          <p:cNvGrpSpPr/>
          <p:nvPr/>
        </p:nvGrpSpPr>
        <p:grpSpPr>
          <a:xfrm>
            <a:off x="8188822" y="4373822"/>
            <a:ext cx="313171" cy="311728"/>
            <a:chOff x="7005638" y="1814513"/>
            <a:chExt cx="344488" cy="342901"/>
          </a:xfrm>
        </p:grpSpPr>
        <p:sp>
          <p:nvSpPr>
            <p:cNvPr id="150" name="Freeform 92">
              <a:extLst>
                <a:ext uri="{FF2B5EF4-FFF2-40B4-BE49-F238E27FC236}">
                  <a16:creationId xmlns:a16="http://schemas.microsoft.com/office/drawing/2014/main" id="{1FA0B447-5DFE-47AD-B753-54D858EFB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351" y="1814513"/>
              <a:ext cx="119063" cy="184150"/>
            </a:xfrm>
            <a:custGeom>
              <a:avLst/>
              <a:gdLst>
                <a:gd name="T0" fmla="*/ 32 w 32"/>
                <a:gd name="T1" fmla="*/ 34 h 49"/>
                <a:gd name="T2" fmla="*/ 16 w 32"/>
                <a:gd name="T3" fmla="*/ 49 h 49"/>
                <a:gd name="T4" fmla="*/ 0 w 32"/>
                <a:gd name="T5" fmla="*/ 34 h 49"/>
                <a:gd name="T6" fmla="*/ 16 w 32"/>
                <a:gd name="T7" fmla="*/ 0 h 49"/>
                <a:gd name="T8" fmla="*/ 32 w 32"/>
                <a:gd name="T9" fmla="*/ 3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49">
                  <a:moveTo>
                    <a:pt x="32" y="34"/>
                  </a:moveTo>
                  <a:cubicBezTo>
                    <a:pt x="32" y="43"/>
                    <a:pt x="25" y="49"/>
                    <a:pt x="16" y="49"/>
                  </a:cubicBezTo>
                  <a:cubicBezTo>
                    <a:pt x="7" y="49"/>
                    <a:pt x="0" y="43"/>
                    <a:pt x="0" y="34"/>
                  </a:cubicBezTo>
                  <a:cubicBezTo>
                    <a:pt x="0" y="25"/>
                    <a:pt x="16" y="0"/>
                    <a:pt x="16" y="0"/>
                  </a:cubicBezTo>
                  <a:cubicBezTo>
                    <a:pt x="16" y="0"/>
                    <a:pt x="32" y="25"/>
                    <a:pt x="32" y="34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51" name="Freeform 93">
              <a:extLst>
                <a:ext uri="{FF2B5EF4-FFF2-40B4-BE49-F238E27FC236}">
                  <a16:creationId xmlns:a16="http://schemas.microsoft.com/office/drawing/2014/main" id="{A310E67B-F47D-4668-B8F1-CB6A416C80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8513" y="1943101"/>
              <a:ext cx="30163" cy="25400"/>
            </a:xfrm>
            <a:custGeom>
              <a:avLst/>
              <a:gdLst>
                <a:gd name="T0" fmla="*/ 8 w 8"/>
                <a:gd name="T1" fmla="*/ 7 h 7"/>
                <a:gd name="T2" fmla="*/ 0 w 8"/>
                <a:gd name="T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" h="7">
                  <a:moveTo>
                    <a:pt x="8" y="7"/>
                  </a:moveTo>
                  <a:cubicBezTo>
                    <a:pt x="4" y="7"/>
                    <a:pt x="0" y="4"/>
                    <a:pt x="0" y="0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52" name="Rectangle 94">
              <a:extLst>
                <a:ext uri="{FF2B5EF4-FFF2-40B4-BE49-F238E27FC236}">
                  <a16:creationId xmlns:a16="http://schemas.microsoft.com/office/drawing/2014/main" id="{36805C16-557A-40AE-A09A-7CE64CC84D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5188" y="2111376"/>
              <a:ext cx="90488" cy="46038"/>
            </a:xfrm>
            <a:prstGeom prst="rect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53" name="Freeform 95">
              <a:extLst>
                <a:ext uri="{FF2B5EF4-FFF2-40B4-BE49-F238E27FC236}">
                  <a16:creationId xmlns:a16="http://schemas.microsoft.com/office/drawing/2014/main" id="{33FD370A-57D5-40A8-8649-C289D2162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1063" y="1893888"/>
              <a:ext cx="119063" cy="217488"/>
            </a:xfrm>
            <a:custGeom>
              <a:avLst/>
              <a:gdLst>
                <a:gd name="T0" fmla="*/ 16 w 32"/>
                <a:gd name="T1" fmla="*/ 58 h 58"/>
                <a:gd name="T2" fmla="*/ 16 w 32"/>
                <a:gd name="T3" fmla="*/ 52 h 58"/>
                <a:gd name="T4" fmla="*/ 32 w 32"/>
                <a:gd name="T5" fmla="*/ 36 h 58"/>
                <a:gd name="T6" fmla="*/ 32 w 32"/>
                <a:gd name="T7" fmla="*/ 4 h 58"/>
                <a:gd name="T8" fmla="*/ 22 w 32"/>
                <a:gd name="T9" fmla="*/ 28 h 58"/>
                <a:gd name="T10" fmla="*/ 10 w 32"/>
                <a:gd name="T11" fmla="*/ 40 h 58"/>
                <a:gd name="T12" fmla="*/ 13 w 32"/>
                <a:gd name="T13" fmla="*/ 28 h 58"/>
                <a:gd name="T14" fmla="*/ 6 w 32"/>
                <a:gd name="T15" fmla="*/ 24 h 58"/>
                <a:gd name="T16" fmla="*/ 0 w 32"/>
                <a:gd name="T17" fmla="*/ 40 h 58"/>
                <a:gd name="T18" fmla="*/ 0 w 32"/>
                <a:gd name="T1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8">
                  <a:moveTo>
                    <a:pt x="16" y="58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29" y="39"/>
                    <a:pt x="32" y="36"/>
                  </a:cubicBezTo>
                  <a:cubicBezTo>
                    <a:pt x="32" y="30"/>
                    <a:pt x="32" y="4"/>
                    <a:pt x="32" y="4"/>
                  </a:cubicBezTo>
                  <a:cubicBezTo>
                    <a:pt x="32" y="4"/>
                    <a:pt x="22" y="0"/>
                    <a:pt x="22" y="28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4" y="22"/>
                    <a:pt x="9" y="20"/>
                    <a:pt x="6" y="24"/>
                  </a:cubicBezTo>
                  <a:cubicBezTo>
                    <a:pt x="3" y="28"/>
                    <a:pt x="0" y="40"/>
                    <a:pt x="0" y="40"/>
                  </a:cubicBezTo>
                  <a:cubicBezTo>
                    <a:pt x="0" y="58"/>
                    <a:pt x="0" y="58"/>
                    <a:pt x="0" y="5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54" name="Rectangle 96">
              <a:extLst>
                <a:ext uri="{FF2B5EF4-FFF2-40B4-BE49-F238E27FC236}">
                  <a16:creationId xmlns:a16="http://schemas.microsoft.com/office/drawing/2014/main" id="{8A271957-DC22-447C-A524-CC8CB811DB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0088" y="2111376"/>
              <a:ext cx="90488" cy="46038"/>
            </a:xfrm>
            <a:prstGeom prst="rect">
              <a:avLst/>
            </a:pr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55" name="Freeform 97">
              <a:extLst>
                <a:ext uri="{FF2B5EF4-FFF2-40B4-BE49-F238E27FC236}">
                  <a16:creationId xmlns:a16="http://schemas.microsoft.com/office/drawing/2014/main" id="{3EDE8BFA-E81D-4D43-B60F-E011E29E3D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5638" y="1893888"/>
              <a:ext cx="119063" cy="217488"/>
            </a:xfrm>
            <a:custGeom>
              <a:avLst/>
              <a:gdLst>
                <a:gd name="T0" fmla="*/ 16 w 32"/>
                <a:gd name="T1" fmla="*/ 58 h 58"/>
                <a:gd name="T2" fmla="*/ 16 w 32"/>
                <a:gd name="T3" fmla="*/ 52 h 58"/>
                <a:gd name="T4" fmla="*/ 0 w 32"/>
                <a:gd name="T5" fmla="*/ 36 h 58"/>
                <a:gd name="T6" fmla="*/ 0 w 32"/>
                <a:gd name="T7" fmla="*/ 4 h 58"/>
                <a:gd name="T8" fmla="*/ 10 w 32"/>
                <a:gd name="T9" fmla="*/ 28 h 58"/>
                <a:gd name="T10" fmla="*/ 22 w 32"/>
                <a:gd name="T11" fmla="*/ 40 h 58"/>
                <a:gd name="T12" fmla="*/ 19 w 32"/>
                <a:gd name="T13" fmla="*/ 28 h 58"/>
                <a:gd name="T14" fmla="*/ 26 w 32"/>
                <a:gd name="T15" fmla="*/ 24 h 58"/>
                <a:gd name="T16" fmla="*/ 32 w 32"/>
                <a:gd name="T17" fmla="*/ 40 h 58"/>
                <a:gd name="T18" fmla="*/ 32 w 32"/>
                <a:gd name="T1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8">
                  <a:moveTo>
                    <a:pt x="16" y="58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4" y="39"/>
                    <a:pt x="0" y="36"/>
                  </a:cubicBezTo>
                  <a:cubicBezTo>
                    <a:pt x="0" y="30"/>
                    <a:pt x="0" y="4"/>
                    <a:pt x="0" y="4"/>
                  </a:cubicBezTo>
                  <a:cubicBezTo>
                    <a:pt x="0" y="4"/>
                    <a:pt x="10" y="0"/>
                    <a:pt x="10" y="28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8" y="22"/>
                    <a:pt x="23" y="20"/>
                    <a:pt x="26" y="24"/>
                  </a:cubicBezTo>
                  <a:cubicBezTo>
                    <a:pt x="29" y="28"/>
                    <a:pt x="32" y="40"/>
                    <a:pt x="32" y="40"/>
                  </a:cubicBezTo>
                  <a:cubicBezTo>
                    <a:pt x="32" y="58"/>
                    <a:pt x="32" y="58"/>
                    <a:pt x="32" y="58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158" name="Group 4">
            <a:extLst>
              <a:ext uri="{FF2B5EF4-FFF2-40B4-BE49-F238E27FC236}">
                <a16:creationId xmlns:a16="http://schemas.microsoft.com/office/drawing/2014/main" id="{C6F09A0A-39A9-4CD1-900A-28B0F9BEF09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69829" y="3271611"/>
            <a:ext cx="352425" cy="358774"/>
            <a:chOff x="5154" y="2054"/>
            <a:chExt cx="222" cy="226"/>
          </a:xfrm>
          <a:solidFill>
            <a:schemeClr val="bg1"/>
          </a:solidFill>
        </p:grpSpPr>
        <p:sp>
          <p:nvSpPr>
            <p:cNvPr id="160" name="Freeform 5">
              <a:extLst>
                <a:ext uri="{FF2B5EF4-FFF2-40B4-BE49-F238E27FC236}">
                  <a16:creationId xmlns:a16="http://schemas.microsoft.com/office/drawing/2014/main" id="{D5F81A0C-C399-4675-AB5E-9994E14A6A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54" y="2054"/>
              <a:ext cx="222" cy="226"/>
            </a:xfrm>
            <a:custGeom>
              <a:avLst/>
              <a:gdLst>
                <a:gd name="T0" fmla="*/ 2014 w 2017"/>
                <a:gd name="T1" fmla="*/ 1216 h 2061"/>
                <a:gd name="T2" fmla="*/ 1792 w 2017"/>
                <a:gd name="T3" fmla="*/ 859 h 2061"/>
                <a:gd name="T4" fmla="*/ 1373 w 2017"/>
                <a:gd name="T5" fmla="*/ 127 h 2061"/>
                <a:gd name="T6" fmla="*/ 1153 w 2017"/>
                <a:gd name="T7" fmla="*/ 115 h 2061"/>
                <a:gd name="T8" fmla="*/ 862 w 2017"/>
                <a:gd name="T9" fmla="*/ 45 h 2061"/>
                <a:gd name="T10" fmla="*/ 622 w 2017"/>
                <a:gd name="T11" fmla="*/ 45 h 2061"/>
                <a:gd name="T12" fmla="*/ 454 w 2017"/>
                <a:gd name="T13" fmla="*/ 213 h 2061"/>
                <a:gd name="T14" fmla="*/ 399 w 2017"/>
                <a:gd name="T15" fmla="*/ 349 h 2061"/>
                <a:gd name="T16" fmla="*/ 468 w 2017"/>
                <a:gd name="T17" fmla="*/ 475 h 2061"/>
                <a:gd name="T18" fmla="*/ 302 w 2017"/>
                <a:gd name="T19" fmla="*/ 385 h 2061"/>
                <a:gd name="T20" fmla="*/ 200 w 2017"/>
                <a:gd name="T21" fmla="*/ 586 h 2061"/>
                <a:gd name="T22" fmla="*/ 133 w 2017"/>
                <a:gd name="T23" fmla="*/ 838 h 2061"/>
                <a:gd name="T24" fmla="*/ 264 w 2017"/>
                <a:gd name="T25" fmla="*/ 1501 h 2061"/>
                <a:gd name="T26" fmla="*/ 661 w 2017"/>
                <a:gd name="T27" fmla="*/ 1994 h 2061"/>
                <a:gd name="T28" fmla="*/ 744 w 2017"/>
                <a:gd name="T29" fmla="*/ 2009 h 2061"/>
                <a:gd name="T30" fmla="*/ 1280 w 2017"/>
                <a:gd name="T31" fmla="*/ 2039 h 2061"/>
                <a:gd name="T32" fmla="*/ 1207 w 2017"/>
                <a:gd name="T33" fmla="*/ 1730 h 2061"/>
                <a:gd name="T34" fmla="*/ 1081 w 2017"/>
                <a:gd name="T35" fmla="*/ 1326 h 2061"/>
                <a:gd name="T36" fmla="*/ 1255 w 2017"/>
                <a:gd name="T37" fmla="*/ 1410 h 2061"/>
                <a:gd name="T38" fmla="*/ 1624 w 2017"/>
                <a:gd name="T39" fmla="*/ 1611 h 2061"/>
                <a:gd name="T40" fmla="*/ 1761 w 2017"/>
                <a:gd name="T41" fmla="*/ 1036 h 2061"/>
                <a:gd name="T42" fmla="*/ 90 w 2017"/>
                <a:gd name="T43" fmla="*/ 983 h 2061"/>
                <a:gd name="T44" fmla="*/ 180 w 2017"/>
                <a:gd name="T45" fmla="*/ 934 h 2061"/>
                <a:gd name="T46" fmla="*/ 325 w 2017"/>
                <a:gd name="T47" fmla="*/ 1118 h 2061"/>
                <a:gd name="T48" fmla="*/ 155 w 2017"/>
                <a:gd name="T49" fmla="*/ 726 h 2061"/>
                <a:gd name="T50" fmla="*/ 419 w 2017"/>
                <a:gd name="T51" fmla="*/ 1039 h 2061"/>
                <a:gd name="T52" fmla="*/ 482 w 2017"/>
                <a:gd name="T53" fmla="*/ 1036 h 2061"/>
                <a:gd name="T54" fmla="*/ 247 w 2017"/>
                <a:gd name="T55" fmla="*/ 525 h 2061"/>
                <a:gd name="T56" fmla="*/ 572 w 2017"/>
                <a:gd name="T57" fmla="*/ 966 h 2061"/>
                <a:gd name="T58" fmla="*/ 633 w 2017"/>
                <a:gd name="T59" fmla="*/ 936 h 2061"/>
                <a:gd name="T60" fmla="*/ 478 w 2017"/>
                <a:gd name="T61" fmla="*/ 554 h 2061"/>
                <a:gd name="T62" fmla="*/ 847 w 2017"/>
                <a:gd name="T63" fmla="*/ 1142 h 2061"/>
                <a:gd name="T64" fmla="*/ 912 w 2017"/>
                <a:gd name="T65" fmla="*/ 778 h 2061"/>
                <a:gd name="T66" fmla="*/ 963 w 2017"/>
                <a:gd name="T67" fmla="*/ 727 h 2061"/>
                <a:gd name="T68" fmla="*/ 1013 w 2017"/>
                <a:gd name="T69" fmla="*/ 1326 h 2061"/>
                <a:gd name="T70" fmla="*/ 325 w 2017"/>
                <a:gd name="T71" fmla="*/ 1471 h 2061"/>
                <a:gd name="T72" fmla="*/ 1155 w 2017"/>
                <a:gd name="T73" fmla="*/ 1683 h 2061"/>
                <a:gd name="T74" fmla="*/ 598 w 2017"/>
                <a:gd name="T75" fmla="*/ 1890 h 2061"/>
                <a:gd name="T76" fmla="*/ 1152 w 2017"/>
                <a:gd name="T77" fmla="*/ 1616 h 2061"/>
                <a:gd name="T78" fmla="*/ 962 w 2017"/>
                <a:gd name="T79" fmla="*/ 659 h 2061"/>
                <a:gd name="T80" fmla="*/ 627 w 2017"/>
                <a:gd name="T81" fmla="*/ 531 h 2061"/>
                <a:gd name="T82" fmla="*/ 467 w 2017"/>
                <a:gd name="T83" fmla="*/ 349 h 2061"/>
                <a:gd name="T84" fmla="*/ 833 w 2017"/>
                <a:gd name="T85" fmla="*/ 593 h 2061"/>
                <a:gd name="T86" fmla="*/ 602 w 2017"/>
                <a:gd name="T87" fmla="*/ 265 h 2061"/>
                <a:gd name="T88" fmla="*/ 502 w 2017"/>
                <a:gd name="T89" fmla="*/ 93 h 2061"/>
                <a:gd name="T90" fmla="*/ 987 w 2017"/>
                <a:gd name="T91" fmla="*/ 483 h 2061"/>
                <a:gd name="T92" fmla="*/ 742 w 2017"/>
                <a:gd name="T93" fmla="*/ 165 h 2061"/>
                <a:gd name="T94" fmla="*/ 742 w 2017"/>
                <a:gd name="T95" fmla="*/ 93 h 2061"/>
                <a:gd name="T96" fmla="*/ 1314 w 2017"/>
                <a:gd name="T97" fmla="*/ 554 h 2061"/>
                <a:gd name="T98" fmla="*/ 1215 w 2017"/>
                <a:gd name="T99" fmla="*/ 145 h 2061"/>
                <a:gd name="T100" fmla="*/ 1308 w 2017"/>
                <a:gd name="T101" fmla="*/ 150 h 2061"/>
                <a:gd name="T102" fmla="*/ 1269 w 2017"/>
                <a:gd name="T103" fmla="*/ 1231 h 2061"/>
                <a:gd name="T104" fmla="*/ 1294 w 2017"/>
                <a:gd name="T105" fmla="*/ 1353 h 2061"/>
                <a:gd name="T106" fmla="*/ 1726 w 2017"/>
                <a:gd name="T107" fmla="*/ 896 h 2061"/>
                <a:gd name="T108" fmla="*/ 1737 w 2017"/>
                <a:gd name="T109" fmla="*/ 963 h 20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7" h="2061">
                  <a:moveTo>
                    <a:pt x="1957" y="1232"/>
                  </a:moveTo>
                  <a:cubicBezTo>
                    <a:pt x="1965" y="1240"/>
                    <a:pt x="1978" y="1244"/>
                    <a:pt x="1990" y="1241"/>
                  </a:cubicBezTo>
                  <a:cubicBezTo>
                    <a:pt x="2002" y="1238"/>
                    <a:pt x="2011" y="1228"/>
                    <a:pt x="2014" y="1216"/>
                  </a:cubicBezTo>
                  <a:cubicBezTo>
                    <a:pt x="2017" y="1205"/>
                    <a:pt x="2014" y="1192"/>
                    <a:pt x="2005" y="1183"/>
                  </a:cubicBezTo>
                  <a:cubicBezTo>
                    <a:pt x="1806" y="985"/>
                    <a:pt x="1806" y="985"/>
                    <a:pt x="1806" y="985"/>
                  </a:cubicBezTo>
                  <a:cubicBezTo>
                    <a:pt x="1830" y="944"/>
                    <a:pt x="1824" y="893"/>
                    <a:pt x="1792" y="859"/>
                  </a:cubicBezTo>
                  <a:cubicBezTo>
                    <a:pt x="1759" y="825"/>
                    <a:pt x="1708" y="817"/>
                    <a:pt x="1666" y="840"/>
                  </a:cubicBezTo>
                  <a:cubicBezTo>
                    <a:pt x="1617" y="782"/>
                    <a:pt x="1579" y="716"/>
                    <a:pt x="1554" y="644"/>
                  </a:cubicBezTo>
                  <a:cubicBezTo>
                    <a:pt x="1373" y="127"/>
                    <a:pt x="1373" y="127"/>
                    <a:pt x="1373" y="127"/>
                  </a:cubicBezTo>
                  <a:cubicBezTo>
                    <a:pt x="1362" y="98"/>
                    <a:pt x="1340" y="73"/>
                    <a:pt x="1312" y="59"/>
                  </a:cubicBezTo>
                  <a:cubicBezTo>
                    <a:pt x="1284" y="46"/>
                    <a:pt x="1251" y="44"/>
                    <a:pt x="1221" y="54"/>
                  </a:cubicBezTo>
                  <a:cubicBezTo>
                    <a:pt x="1191" y="65"/>
                    <a:pt x="1167" y="87"/>
                    <a:pt x="1153" y="115"/>
                  </a:cubicBezTo>
                  <a:cubicBezTo>
                    <a:pt x="1140" y="143"/>
                    <a:pt x="1138" y="176"/>
                    <a:pt x="1148" y="206"/>
                  </a:cubicBezTo>
                  <a:cubicBezTo>
                    <a:pt x="1215" y="395"/>
                    <a:pt x="1215" y="395"/>
                    <a:pt x="1215" y="395"/>
                  </a:cubicBezTo>
                  <a:cubicBezTo>
                    <a:pt x="862" y="45"/>
                    <a:pt x="862" y="45"/>
                    <a:pt x="862" y="45"/>
                  </a:cubicBezTo>
                  <a:cubicBezTo>
                    <a:pt x="815" y="0"/>
                    <a:pt x="741" y="0"/>
                    <a:pt x="694" y="45"/>
                  </a:cubicBezTo>
                  <a:cubicBezTo>
                    <a:pt x="681" y="57"/>
                    <a:pt x="672" y="73"/>
                    <a:pt x="666" y="89"/>
                  </a:cubicBezTo>
                  <a:cubicBezTo>
                    <a:pt x="622" y="45"/>
                    <a:pt x="622" y="45"/>
                    <a:pt x="622" y="45"/>
                  </a:cubicBezTo>
                  <a:cubicBezTo>
                    <a:pt x="575" y="0"/>
                    <a:pt x="501" y="0"/>
                    <a:pt x="454" y="45"/>
                  </a:cubicBezTo>
                  <a:cubicBezTo>
                    <a:pt x="431" y="67"/>
                    <a:pt x="419" y="97"/>
                    <a:pt x="419" y="129"/>
                  </a:cubicBezTo>
                  <a:cubicBezTo>
                    <a:pt x="419" y="161"/>
                    <a:pt x="431" y="191"/>
                    <a:pt x="454" y="213"/>
                  </a:cubicBezTo>
                  <a:cubicBezTo>
                    <a:pt x="478" y="238"/>
                    <a:pt x="478" y="238"/>
                    <a:pt x="478" y="238"/>
                  </a:cubicBezTo>
                  <a:cubicBezTo>
                    <a:pt x="462" y="243"/>
                    <a:pt x="446" y="253"/>
                    <a:pt x="434" y="265"/>
                  </a:cubicBezTo>
                  <a:cubicBezTo>
                    <a:pt x="411" y="287"/>
                    <a:pt x="399" y="318"/>
                    <a:pt x="399" y="349"/>
                  </a:cubicBezTo>
                  <a:cubicBezTo>
                    <a:pt x="399" y="381"/>
                    <a:pt x="411" y="411"/>
                    <a:pt x="434" y="433"/>
                  </a:cubicBezTo>
                  <a:cubicBezTo>
                    <a:pt x="474" y="473"/>
                    <a:pt x="474" y="473"/>
                    <a:pt x="474" y="473"/>
                  </a:cubicBezTo>
                  <a:cubicBezTo>
                    <a:pt x="472" y="474"/>
                    <a:pt x="470" y="474"/>
                    <a:pt x="468" y="475"/>
                  </a:cubicBezTo>
                  <a:cubicBezTo>
                    <a:pt x="452" y="483"/>
                    <a:pt x="438" y="494"/>
                    <a:pt x="427" y="508"/>
                  </a:cubicBezTo>
                  <a:cubicBezTo>
                    <a:pt x="400" y="452"/>
                    <a:pt x="400" y="452"/>
                    <a:pt x="400" y="452"/>
                  </a:cubicBezTo>
                  <a:cubicBezTo>
                    <a:pt x="382" y="413"/>
                    <a:pt x="344" y="388"/>
                    <a:pt x="302" y="385"/>
                  </a:cubicBezTo>
                  <a:cubicBezTo>
                    <a:pt x="259" y="381"/>
                    <a:pt x="218" y="401"/>
                    <a:pt x="194" y="436"/>
                  </a:cubicBezTo>
                  <a:cubicBezTo>
                    <a:pt x="171" y="471"/>
                    <a:pt x="167" y="517"/>
                    <a:pt x="186" y="555"/>
                  </a:cubicBezTo>
                  <a:cubicBezTo>
                    <a:pt x="200" y="586"/>
                    <a:pt x="200" y="586"/>
                    <a:pt x="200" y="586"/>
                  </a:cubicBezTo>
                  <a:cubicBezTo>
                    <a:pt x="160" y="586"/>
                    <a:pt x="122" y="607"/>
                    <a:pt x="100" y="641"/>
                  </a:cubicBezTo>
                  <a:cubicBezTo>
                    <a:pt x="78" y="676"/>
                    <a:pt x="76" y="719"/>
                    <a:pt x="94" y="756"/>
                  </a:cubicBezTo>
                  <a:cubicBezTo>
                    <a:pt x="133" y="838"/>
                    <a:pt x="133" y="838"/>
                    <a:pt x="133" y="838"/>
                  </a:cubicBezTo>
                  <a:cubicBezTo>
                    <a:pt x="113" y="838"/>
                    <a:pt x="93" y="843"/>
                    <a:pt x="75" y="853"/>
                  </a:cubicBezTo>
                  <a:cubicBezTo>
                    <a:pt x="20" y="886"/>
                    <a:pt x="0" y="955"/>
                    <a:pt x="29" y="1012"/>
                  </a:cubicBezTo>
                  <a:cubicBezTo>
                    <a:pt x="264" y="1501"/>
                    <a:pt x="264" y="1501"/>
                    <a:pt x="264" y="1501"/>
                  </a:cubicBezTo>
                  <a:cubicBezTo>
                    <a:pt x="328" y="1635"/>
                    <a:pt x="429" y="1747"/>
                    <a:pt x="555" y="1826"/>
                  </a:cubicBezTo>
                  <a:cubicBezTo>
                    <a:pt x="525" y="1861"/>
                    <a:pt x="521" y="1911"/>
                    <a:pt x="546" y="1950"/>
                  </a:cubicBezTo>
                  <a:cubicBezTo>
                    <a:pt x="570" y="1988"/>
                    <a:pt x="617" y="2006"/>
                    <a:pt x="661" y="1994"/>
                  </a:cubicBezTo>
                  <a:cubicBezTo>
                    <a:pt x="683" y="2039"/>
                    <a:pt x="683" y="2039"/>
                    <a:pt x="683" y="2039"/>
                  </a:cubicBezTo>
                  <a:cubicBezTo>
                    <a:pt x="691" y="2055"/>
                    <a:pt x="711" y="2061"/>
                    <a:pt x="728" y="2053"/>
                  </a:cubicBezTo>
                  <a:cubicBezTo>
                    <a:pt x="744" y="2045"/>
                    <a:pt x="752" y="2026"/>
                    <a:pt x="744" y="2009"/>
                  </a:cubicBezTo>
                  <a:cubicBezTo>
                    <a:pt x="724" y="1967"/>
                    <a:pt x="724" y="1967"/>
                    <a:pt x="724" y="1967"/>
                  </a:cubicBezTo>
                  <a:cubicBezTo>
                    <a:pt x="1147" y="1763"/>
                    <a:pt x="1147" y="1763"/>
                    <a:pt x="1147" y="1763"/>
                  </a:cubicBezTo>
                  <a:cubicBezTo>
                    <a:pt x="1280" y="2039"/>
                    <a:pt x="1280" y="2039"/>
                    <a:pt x="1280" y="2039"/>
                  </a:cubicBezTo>
                  <a:cubicBezTo>
                    <a:pt x="1288" y="2055"/>
                    <a:pt x="1308" y="2061"/>
                    <a:pt x="1325" y="2053"/>
                  </a:cubicBezTo>
                  <a:cubicBezTo>
                    <a:pt x="1341" y="2045"/>
                    <a:pt x="1348" y="2026"/>
                    <a:pt x="1341" y="2009"/>
                  </a:cubicBezTo>
                  <a:cubicBezTo>
                    <a:pt x="1207" y="1730"/>
                    <a:pt x="1207" y="1730"/>
                    <a:pt x="1207" y="1730"/>
                  </a:cubicBezTo>
                  <a:cubicBezTo>
                    <a:pt x="1243" y="1700"/>
                    <a:pt x="1255" y="1649"/>
                    <a:pt x="1235" y="1606"/>
                  </a:cubicBezTo>
                  <a:cubicBezTo>
                    <a:pt x="1215" y="1564"/>
                    <a:pt x="1169" y="1539"/>
                    <a:pt x="1123" y="1547"/>
                  </a:cubicBezTo>
                  <a:cubicBezTo>
                    <a:pt x="1096" y="1477"/>
                    <a:pt x="1082" y="1401"/>
                    <a:pt x="1081" y="1326"/>
                  </a:cubicBezTo>
                  <a:cubicBezTo>
                    <a:pt x="1081" y="1244"/>
                    <a:pt x="1081" y="1244"/>
                    <a:pt x="1081" y="1244"/>
                  </a:cubicBezTo>
                  <a:cubicBezTo>
                    <a:pt x="1127" y="1264"/>
                    <a:pt x="1174" y="1280"/>
                    <a:pt x="1222" y="1291"/>
                  </a:cubicBezTo>
                  <a:cubicBezTo>
                    <a:pt x="1206" y="1333"/>
                    <a:pt x="1219" y="1382"/>
                    <a:pt x="1255" y="1410"/>
                  </a:cubicBezTo>
                  <a:cubicBezTo>
                    <a:pt x="1291" y="1438"/>
                    <a:pt x="1341" y="1440"/>
                    <a:pt x="1379" y="1414"/>
                  </a:cubicBezTo>
                  <a:cubicBezTo>
                    <a:pt x="1576" y="1612"/>
                    <a:pt x="1576" y="1612"/>
                    <a:pt x="1576" y="1612"/>
                  </a:cubicBezTo>
                  <a:cubicBezTo>
                    <a:pt x="1590" y="1625"/>
                    <a:pt x="1611" y="1624"/>
                    <a:pt x="1624" y="1611"/>
                  </a:cubicBezTo>
                  <a:cubicBezTo>
                    <a:pt x="1637" y="1598"/>
                    <a:pt x="1637" y="1577"/>
                    <a:pt x="1624" y="1563"/>
                  </a:cubicBezTo>
                  <a:cubicBezTo>
                    <a:pt x="1429" y="1367"/>
                    <a:pt x="1429" y="1367"/>
                    <a:pt x="1429" y="1367"/>
                  </a:cubicBezTo>
                  <a:cubicBezTo>
                    <a:pt x="1761" y="1036"/>
                    <a:pt x="1761" y="1036"/>
                    <a:pt x="1761" y="1036"/>
                  </a:cubicBezTo>
                  <a:lnTo>
                    <a:pt x="1957" y="1232"/>
                  </a:lnTo>
                  <a:close/>
                  <a:moveTo>
                    <a:pt x="325" y="1471"/>
                  </a:moveTo>
                  <a:cubicBezTo>
                    <a:pt x="90" y="983"/>
                    <a:pt x="90" y="983"/>
                    <a:pt x="90" y="983"/>
                  </a:cubicBezTo>
                  <a:cubicBezTo>
                    <a:pt x="78" y="958"/>
                    <a:pt x="85" y="928"/>
                    <a:pt x="109" y="912"/>
                  </a:cubicBezTo>
                  <a:cubicBezTo>
                    <a:pt x="121" y="905"/>
                    <a:pt x="135" y="904"/>
                    <a:pt x="149" y="908"/>
                  </a:cubicBezTo>
                  <a:cubicBezTo>
                    <a:pt x="162" y="912"/>
                    <a:pt x="174" y="922"/>
                    <a:pt x="180" y="934"/>
                  </a:cubicBezTo>
                  <a:cubicBezTo>
                    <a:pt x="265" y="1113"/>
                    <a:pt x="265" y="1113"/>
                    <a:pt x="265" y="1113"/>
                  </a:cubicBezTo>
                  <a:cubicBezTo>
                    <a:pt x="270" y="1125"/>
                    <a:pt x="281" y="1132"/>
                    <a:pt x="294" y="1134"/>
                  </a:cubicBezTo>
                  <a:cubicBezTo>
                    <a:pt x="306" y="1135"/>
                    <a:pt x="318" y="1129"/>
                    <a:pt x="325" y="1118"/>
                  </a:cubicBezTo>
                  <a:cubicBezTo>
                    <a:pt x="332" y="1108"/>
                    <a:pt x="333" y="1094"/>
                    <a:pt x="327" y="1083"/>
                  </a:cubicBezTo>
                  <a:cubicBezTo>
                    <a:pt x="241" y="905"/>
                    <a:pt x="241" y="905"/>
                    <a:pt x="241" y="905"/>
                  </a:cubicBezTo>
                  <a:cubicBezTo>
                    <a:pt x="155" y="726"/>
                    <a:pt x="155" y="726"/>
                    <a:pt x="155" y="726"/>
                  </a:cubicBezTo>
                  <a:cubicBezTo>
                    <a:pt x="143" y="701"/>
                    <a:pt x="154" y="671"/>
                    <a:pt x="179" y="659"/>
                  </a:cubicBezTo>
                  <a:cubicBezTo>
                    <a:pt x="204" y="647"/>
                    <a:pt x="235" y="657"/>
                    <a:pt x="247" y="682"/>
                  </a:cubicBezTo>
                  <a:cubicBezTo>
                    <a:pt x="419" y="1039"/>
                    <a:pt x="419" y="1039"/>
                    <a:pt x="419" y="1039"/>
                  </a:cubicBezTo>
                  <a:cubicBezTo>
                    <a:pt x="424" y="1051"/>
                    <a:pt x="436" y="1059"/>
                    <a:pt x="449" y="1059"/>
                  </a:cubicBezTo>
                  <a:cubicBezTo>
                    <a:pt x="454" y="1059"/>
                    <a:pt x="460" y="1058"/>
                    <a:pt x="464" y="1055"/>
                  </a:cubicBezTo>
                  <a:cubicBezTo>
                    <a:pt x="472" y="1051"/>
                    <a:pt x="479" y="1044"/>
                    <a:pt x="482" y="1036"/>
                  </a:cubicBezTo>
                  <a:cubicBezTo>
                    <a:pt x="485" y="1027"/>
                    <a:pt x="484" y="1018"/>
                    <a:pt x="480" y="1010"/>
                  </a:cubicBezTo>
                  <a:cubicBezTo>
                    <a:pt x="308" y="653"/>
                    <a:pt x="308" y="653"/>
                    <a:pt x="308" y="653"/>
                  </a:cubicBezTo>
                  <a:cubicBezTo>
                    <a:pt x="247" y="525"/>
                    <a:pt x="247" y="525"/>
                    <a:pt x="247" y="525"/>
                  </a:cubicBezTo>
                  <a:cubicBezTo>
                    <a:pt x="235" y="500"/>
                    <a:pt x="246" y="470"/>
                    <a:pt x="271" y="458"/>
                  </a:cubicBezTo>
                  <a:cubicBezTo>
                    <a:pt x="296" y="446"/>
                    <a:pt x="326" y="456"/>
                    <a:pt x="338" y="481"/>
                  </a:cubicBezTo>
                  <a:cubicBezTo>
                    <a:pt x="572" y="966"/>
                    <a:pt x="572" y="966"/>
                    <a:pt x="572" y="966"/>
                  </a:cubicBezTo>
                  <a:cubicBezTo>
                    <a:pt x="577" y="977"/>
                    <a:pt x="587" y="985"/>
                    <a:pt x="600" y="986"/>
                  </a:cubicBezTo>
                  <a:cubicBezTo>
                    <a:pt x="612" y="987"/>
                    <a:pt x="625" y="982"/>
                    <a:pt x="632" y="971"/>
                  </a:cubicBezTo>
                  <a:cubicBezTo>
                    <a:pt x="638" y="961"/>
                    <a:pt x="639" y="947"/>
                    <a:pt x="633" y="936"/>
                  </a:cubicBezTo>
                  <a:cubicBezTo>
                    <a:pt x="474" y="605"/>
                    <a:pt x="474" y="605"/>
                    <a:pt x="474" y="605"/>
                  </a:cubicBezTo>
                  <a:cubicBezTo>
                    <a:pt x="474" y="605"/>
                    <a:pt x="474" y="605"/>
                    <a:pt x="474" y="605"/>
                  </a:cubicBezTo>
                  <a:cubicBezTo>
                    <a:pt x="466" y="588"/>
                    <a:pt x="467" y="569"/>
                    <a:pt x="478" y="554"/>
                  </a:cubicBezTo>
                  <a:cubicBezTo>
                    <a:pt x="488" y="539"/>
                    <a:pt x="505" y="531"/>
                    <a:pt x="523" y="532"/>
                  </a:cubicBezTo>
                  <a:cubicBezTo>
                    <a:pt x="541" y="533"/>
                    <a:pt x="557" y="544"/>
                    <a:pt x="565" y="561"/>
                  </a:cubicBezTo>
                  <a:cubicBezTo>
                    <a:pt x="847" y="1142"/>
                    <a:pt x="847" y="1142"/>
                    <a:pt x="847" y="1142"/>
                  </a:cubicBezTo>
                  <a:cubicBezTo>
                    <a:pt x="854" y="1157"/>
                    <a:pt x="870" y="1164"/>
                    <a:pt x="885" y="1161"/>
                  </a:cubicBezTo>
                  <a:cubicBezTo>
                    <a:pt x="901" y="1157"/>
                    <a:pt x="912" y="1143"/>
                    <a:pt x="912" y="1128"/>
                  </a:cubicBezTo>
                  <a:cubicBezTo>
                    <a:pt x="912" y="778"/>
                    <a:pt x="912" y="778"/>
                    <a:pt x="912" y="778"/>
                  </a:cubicBezTo>
                  <a:cubicBezTo>
                    <a:pt x="912" y="764"/>
                    <a:pt x="917" y="751"/>
                    <a:pt x="927" y="742"/>
                  </a:cubicBezTo>
                  <a:cubicBezTo>
                    <a:pt x="936" y="732"/>
                    <a:pt x="949" y="727"/>
                    <a:pt x="962" y="727"/>
                  </a:cubicBezTo>
                  <a:cubicBezTo>
                    <a:pt x="963" y="727"/>
                    <a:pt x="963" y="727"/>
                    <a:pt x="963" y="727"/>
                  </a:cubicBezTo>
                  <a:cubicBezTo>
                    <a:pt x="976" y="727"/>
                    <a:pt x="989" y="733"/>
                    <a:pt x="998" y="742"/>
                  </a:cubicBezTo>
                  <a:cubicBezTo>
                    <a:pt x="1008" y="752"/>
                    <a:pt x="1013" y="765"/>
                    <a:pt x="1013" y="778"/>
                  </a:cubicBezTo>
                  <a:cubicBezTo>
                    <a:pt x="1013" y="1326"/>
                    <a:pt x="1013" y="1326"/>
                    <a:pt x="1013" y="1326"/>
                  </a:cubicBezTo>
                  <a:cubicBezTo>
                    <a:pt x="1014" y="1410"/>
                    <a:pt x="1029" y="1494"/>
                    <a:pt x="1060" y="1573"/>
                  </a:cubicBezTo>
                  <a:cubicBezTo>
                    <a:pt x="619" y="1785"/>
                    <a:pt x="619" y="1785"/>
                    <a:pt x="619" y="1785"/>
                  </a:cubicBezTo>
                  <a:cubicBezTo>
                    <a:pt x="491" y="1713"/>
                    <a:pt x="389" y="1603"/>
                    <a:pt x="325" y="1471"/>
                  </a:cubicBezTo>
                  <a:close/>
                  <a:moveTo>
                    <a:pt x="1152" y="1616"/>
                  </a:moveTo>
                  <a:cubicBezTo>
                    <a:pt x="1166" y="1621"/>
                    <a:pt x="1175" y="1634"/>
                    <a:pt x="1176" y="1648"/>
                  </a:cubicBezTo>
                  <a:cubicBezTo>
                    <a:pt x="1177" y="1663"/>
                    <a:pt x="1169" y="1677"/>
                    <a:pt x="1155" y="1683"/>
                  </a:cubicBezTo>
                  <a:cubicBezTo>
                    <a:pt x="651" y="1926"/>
                    <a:pt x="651" y="1926"/>
                    <a:pt x="651" y="1926"/>
                  </a:cubicBezTo>
                  <a:cubicBezTo>
                    <a:pt x="639" y="1932"/>
                    <a:pt x="625" y="1931"/>
                    <a:pt x="614" y="1924"/>
                  </a:cubicBezTo>
                  <a:cubicBezTo>
                    <a:pt x="603" y="1917"/>
                    <a:pt x="597" y="1904"/>
                    <a:pt x="598" y="1890"/>
                  </a:cubicBezTo>
                  <a:cubicBezTo>
                    <a:pt x="599" y="1877"/>
                    <a:pt x="607" y="1865"/>
                    <a:pt x="619" y="1860"/>
                  </a:cubicBezTo>
                  <a:cubicBezTo>
                    <a:pt x="1124" y="1617"/>
                    <a:pt x="1124" y="1617"/>
                    <a:pt x="1124" y="1617"/>
                  </a:cubicBezTo>
                  <a:cubicBezTo>
                    <a:pt x="1133" y="1613"/>
                    <a:pt x="1143" y="1613"/>
                    <a:pt x="1152" y="1616"/>
                  </a:cubicBezTo>
                  <a:close/>
                  <a:moveTo>
                    <a:pt x="1081" y="778"/>
                  </a:moveTo>
                  <a:cubicBezTo>
                    <a:pt x="1081" y="712"/>
                    <a:pt x="1028" y="659"/>
                    <a:pt x="963" y="659"/>
                  </a:cubicBezTo>
                  <a:cubicBezTo>
                    <a:pt x="962" y="659"/>
                    <a:pt x="962" y="659"/>
                    <a:pt x="962" y="659"/>
                  </a:cubicBezTo>
                  <a:cubicBezTo>
                    <a:pt x="897" y="659"/>
                    <a:pt x="843" y="712"/>
                    <a:pt x="843" y="778"/>
                  </a:cubicBezTo>
                  <a:cubicBezTo>
                    <a:pt x="843" y="979"/>
                    <a:pt x="843" y="979"/>
                    <a:pt x="843" y="979"/>
                  </a:cubicBezTo>
                  <a:cubicBezTo>
                    <a:pt x="627" y="531"/>
                    <a:pt x="627" y="531"/>
                    <a:pt x="627" y="531"/>
                  </a:cubicBezTo>
                  <a:cubicBezTo>
                    <a:pt x="615" y="508"/>
                    <a:pt x="597" y="489"/>
                    <a:pt x="574" y="477"/>
                  </a:cubicBezTo>
                  <a:cubicBezTo>
                    <a:pt x="482" y="385"/>
                    <a:pt x="482" y="385"/>
                    <a:pt x="482" y="385"/>
                  </a:cubicBezTo>
                  <a:cubicBezTo>
                    <a:pt x="472" y="375"/>
                    <a:pt x="467" y="363"/>
                    <a:pt x="467" y="349"/>
                  </a:cubicBezTo>
                  <a:cubicBezTo>
                    <a:pt x="467" y="336"/>
                    <a:pt x="472" y="323"/>
                    <a:pt x="482" y="313"/>
                  </a:cubicBezTo>
                  <a:cubicBezTo>
                    <a:pt x="502" y="294"/>
                    <a:pt x="533" y="294"/>
                    <a:pt x="553" y="313"/>
                  </a:cubicBezTo>
                  <a:cubicBezTo>
                    <a:pt x="833" y="593"/>
                    <a:pt x="833" y="593"/>
                    <a:pt x="833" y="593"/>
                  </a:cubicBezTo>
                  <a:cubicBezTo>
                    <a:pt x="847" y="607"/>
                    <a:pt x="868" y="607"/>
                    <a:pt x="882" y="593"/>
                  </a:cubicBezTo>
                  <a:cubicBezTo>
                    <a:pt x="895" y="580"/>
                    <a:pt x="895" y="558"/>
                    <a:pt x="882" y="545"/>
                  </a:cubicBezTo>
                  <a:cubicBezTo>
                    <a:pt x="602" y="265"/>
                    <a:pt x="602" y="265"/>
                    <a:pt x="602" y="265"/>
                  </a:cubicBezTo>
                  <a:cubicBezTo>
                    <a:pt x="502" y="165"/>
                    <a:pt x="502" y="165"/>
                    <a:pt x="502" y="165"/>
                  </a:cubicBezTo>
                  <a:cubicBezTo>
                    <a:pt x="492" y="155"/>
                    <a:pt x="487" y="143"/>
                    <a:pt x="487" y="129"/>
                  </a:cubicBezTo>
                  <a:cubicBezTo>
                    <a:pt x="487" y="116"/>
                    <a:pt x="492" y="103"/>
                    <a:pt x="502" y="93"/>
                  </a:cubicBezTo>
                  <a:cubicBezTo>
                    <a:pt x="522" y="74"/>
                    <a:pt x="553" y="74"/>
                    <a:pt x="573" y="93"/>
                  </a:cubicBezTo>
                  <a:cubicBezTo>
                    <a:pt x="954" y="473"/>
                    <a:pt x="954" y="473"/>
                    <a:pt x="954" y="473"/>
                  </a:cubicBezTo>
                  <a:cubicBezTo>
                    <a:pt x="962" y="482"/>
                    <a:pt x="975" y="486"/>
                    <a:pt x="987" y="483"/>
                  </a:cubicBezTo>
                  <a:cubicBezTo>
                    <a:pt x="999" y="480"/>
                    <a:pt x="1008" y="470"/>
                    <a:pt x="1011" y="458"/>
                  </a:cubicBezTo>
                  <a:cubicBezTo>
                    <a:pt x="1015" y="446"/>
                    <a:pt x="1011" y="434"/>
                    <a:pt x="1002" y="42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33" y="155"/>
                    <a:pt x="727" y="142"/>
                    <a:pt x="727" y="129"/>
                  </a:cubicBezTo>
                  <a:cubicBezTo>
                    <a:pt x="727" y="116"/>
                    <a:pt x="733" y="103"/>
                    <a:pt x="742" y="93"/>
                  </a:cubicBezTo>
                  <a:cubicBezTo>
                    <a:pt x="762" y="74"/>
                    <a:pt x="794" y="74"/>
                    <a:pt x="814" y="93"/>
                  </a:cubicBezTo>
                  <a:cubicBezTo>
                    <a:pt x="1272" y="549"/>
                    <a:pt x="1272" y="549"/>
                    <a:pt x="1272" y="549"/>
                  </a:cubicBezTo>
                  <a:cubicBezTo>
                    <a:pt x="1283" y="560"/>
                    <a:pt x="1301" y="562"/>
                    <a:pt x="1314" y="554"/>
                  </a:cubicBezTo>
                  <a:cubicBezTo>
                    <a:pt x="1328" y="545"/>
                    <a:pt x="1334" y="528"/>
                    <a:pt x="1328" y="513"/>
                  </a:cubicBezTo>
                  <a:cubicBezTo>
                    <a:pt x="1212" y="183"/>
                    <a:pt x="1212" y="183"/>
                    <a:pt x="1212" y="183"/>
                  </a:cubicBezTo>
                  <a:cubicBezTo>
                    <a:pt x="1208" y="171"/>
                    <a:pt x="1209" y="157"/>
                    <a:pt x="1215" y="145"/>
                  </a:cubicBezTo>
                  <a:cubicBezTo>
                    <a:pt x="1222" y="130"/>
                    <a:pt x="1236" y="120"/>
                    <a:pt x="1252" y="117"/>
                  </a:cubicBezTo>
                  <a:cubicBezTo>
                    <a:pt x="1268" y="114"/>
                    <a:pt x="1285" y="119"/>
                    <a:pt x="1296" y="131"/>
                  </a:cubicBezTo>
                  <a:cubicBezTo>
                    <a:pt x="1302" y="136"/>
                    <a:pt x="1306" y="143"/>
                    <a:pt x="1308" y="150"/>
                  </a:cubicBezTo>
                  <a:cubicBezTo>
                    <a:pt x="1490" y="667"/>
                    <a:pt x="1490" y="667"/>
                    <a:pt x="1490" y="667"/>
                  </a:cubicBezTo>
                  <a:cubicBezTo>
                    <a:pt x="1518" y="747"/>
                    <a:pt x="1560" y="820"/>
                    <a:pt x="1615" y="885"/>
                  </a:cubicBezTo>
                  <a:cubicBezTo>
                    <a:pt x="1269" y="1231"/>
                    <a:pt x="1269" y="1231"/>
                    <a:pt x="1269" y="1231"/>
                  </a:cubicBezTo>
                  <a:cubicBezTo>
                    <a:pt x="1204" y="1219"/>
                    <a:pt x="1141" y="1198"/>
                    <a:pt x="1082" y="1169"/>
                  </a:cubicBezTo>
                  <a:lnTo>
                    <a:pt x="1081" y="778"/>
                  </a:lnTo>
                  <a:close/>
                  <a:moveTo>
                    <a:pt x="1294" y="1353"/>
                  </a:moveTo>
                  <a:cubicBezTo>
                    <a:pt x="1280" y="1339"/>
                    <a:pt x="1280" y="1316"/>
                    <a:pt x="1294" y="1302"/>
                  </a:cubicBezTo>
                  <a:cubicBezTo>
                    <a:pt x="1690" y="906"/>
                    <a:pt x="1690" y="906"/>
                    <a:pt x="1690" y="906"/>
                  </a:cubicBezTo>
                  <a:cubicBezTo>
                    <a:pt x="1700" y="896"/>
                    <a:pt x="1713" y="892"/>
                    <a:pt x="1726" y="896"/>
                  </a:cubicBezTo>
                  <a:cubicBezTo>
                    <a:pt x="1739" y="899"/>
                    <a:pt x="1749" y="909"/>
                    <a:pt x="1752" y="922"/>
                  </a:cubicBezTo>
                  <a:cubicBezTo>
                    <a:pt x="1756" y="935"/>
                    <a:pt x="1752" y="948"/>
                    <a:pt x="1742" y="958"/>
                  </a:cubicBezTo>
                  <a:cubicBezTo>
                    <a:pt x="1737" y="963"/>
                    <a:pt x="1737" y="963"/>
                    <a:pt x="1737" y="963"/>
                  </a:cubicBezTo>
                  <a:cubicBezTo>
                    <a:pt x="1346" y="1353"/>
                    <a:pt x="1346" y="1353"/>
                    <a:pt x="1346" y="1353"/>
                  </a:cubicBezTo>
                  <a:cubicBezTo>
                    <a:pt x="1332" y="1368"/>
                    <a:pt x="1309" y="1368"/>
                    <a:pt x="1294" y="13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61" name="Freeform 6">
              <a:extLst>
                <a:ext uri="{FF2B5EF4-FFF2-40B4-BE49-F238E27FC236}">
                  <a16:creationId xmlns:a16="http://schemas.microsoft.com/office/drawing/2014/main" id="{BDE4F502-C5AB-4771-A587-EF82AE090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6" y="2207"/>
              <a:ext cx="30" cy="33"/>
            </a:xfrm>
            <a:custGeom>
              <a:avLst/>
              <a:gdLst>
                <a:gd name="T0" fmla="*/ 264 w 271"/>
                <a:gd name="T1" fmla="*/ 292 h 307"/>
                <a:gd name="T2" fmla="*/ 270 w 271"/>
                <a:gd name="T3" fmla="*/ 266 h 307"/>
                <a:gd name="T4" fmla="*/ 256 w 271"/>
                <a:gd name="T5" fmla="*/ 244 h 307"/>
                <a:gd name="T6" fmla="*/ 68 w 271"/>
                <a:gd name="T7" fmla="*/ 22 h 307"/>
                <a:gd name="T8" fmla="*/ 24 w 271"/>
                <a:gd name="T9" fmla="*/ 8 h 307"/>
                <a:gd name="T10" fmla="*/ 7 w 271"/>
                <a:gd name="T11" fmla="*/ 52 h 307"/>
                <a:gd name="T12" fmla="*/ 216 w 271"/>
                <a:gd name="T13" fmla="*/ 300 h 307"/>
                <a:gd name="T14" fmla="*/ 242 w 271"/>
                <a:gd name="T15" fmla="*/ 306 h 307"/>
                <a:gd name="T16" fmla="*/ 264 w 271"/>
                <a:gd name="T17" fmla="*/ 292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1" h="307">
                  <a:moveTo>
                    <a:pt x="264" y="292"/>
                  </a:moveTo>
                  <a:cubicBezTo>
                    <a:pt x="269" y="284"/>
                    <a:pt x="271" y="275"/>
                    <a:pt x="270" y="266"/>
                  </a:cubicBezTo>
                  <a:cubicBezTo>
                    <a:pt x="268" y="257"/>
                    <a:pt x="263" y="249"/>
                    <a:pt x="256" y="244"/>
                  </a:cubicBezTo>
                  <a:cubicBezTo>
                    <a:pt x="175" y="188"/>
                    <a:pt x="111" y="111"/>
                    <a:pt x="68" y="22"/>
                  </a:cubicBezTo>
                  <a:cubicBezTo>
                    <a:pt x="60" y="6"/>
                    <a:pt x="40" y="0"/>
                    <a:pt x="24" y="8"/>
                  </a:cubicBezTo>
                  <a:cubicBezTo>
                    <a:pt x="7" y="16"/>
                    <a:pt x="0" y="35"/>
                    <a:pt x="7" y="52"/>
                  </a:cubicBezTo>
                  <a:cubicBezTo>
                    <a:pt x="55" y="151"/>
                    <a:pt x="127" y="236"/>
                    <a:pt x="216" y="300"/>
                  </a:cubicBezTo>
                  <a:cubicBezTo>
                    <a:pt x="224" y="305"/>
                    <a:pt x="233" y="307"/>
                    <a:pt x="242" y="306"/>
                  </a:cubicBezTo>
                  <a:cubicBezTo>
                    <a:pt x="251" y="304"/>
                    <a:pt x="259" y="299"/>
                    <a:pt x="264" y="2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162" name="Group 9">
            <a:extLst>
              <a:ext uri="{FF2B5EF4-FFF2-40B4-BE49-F238E27FC236}">
                <a16:creationId xmlns:a16="http://schemas.microsoft.com/office/drawing/2014/main" id="{4389562E-2E56-4309-B16E-63B46A6A6B8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45223" y="2224673"/>
            <a:ext cx="401637" cy="295275"/>
            <a:chOff x="5121" y="1401"/>
            <a:chExt cx="253" cy="186"/>
          </a:xfrm>
          <a:solidFill>
            <a:schemeClr val="bg1"/>
          </a:solidFill>
        </p:grpSpPr>
        <p:sp>
          <p:nvSpPr>
            <p:cNvPr id="164" name="Freeform 10">
              <a:extLst>
                <a:ext uri="{FF2B5EF4-FFF2-40B4-BE49-F238E27FC236}">
                  <a16:creationId xmlns:a16="http://schemas.microsoft.com/office/drawing/2014/main" id="{CD8626C9-F997-487D-BCE9-1381C0F28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498"/>
              <a:ext cx="119" cy="17"/>
            </a:xfrm>
            <a:custGeom>
              <a:avLst/>
              <a:gdLst>
                <a:gd name="T0" fmla="*/ 28 w 962"/>
                <a:gd name="T1" fmla="*/ 71 h 140"/>
                <a:gd name="T2" fmla="*/ 482 w 962"/>
                <a:gd name="T3" fmla="*/ 140 h 140"/>
                <a:gd name="T4" fmla="*/ 936 w 962"/>
                <a:gd name="T5" fmla="*/ 71 h 140"/>
                <a:gd name="T6" fmla="*/ 959 w 962"/>
                <a:gd name="T7" fmla="*/ 46 h 140"/>
                <a:gd name="T8" fmla="*/ 949 w 962"/>
                <a:gd name="T9" fmla="*/ 13 h 140"/>
                <a:gd name="T10" fmla="*/ 916 w 962"/>
                <a:gd name="T11" fmla="*/ 6 h 140"/>
                <a:gd name="T12" fmla="*/ 49 w 962"/>
                <a:gd name="T13" fmla="*/ 6 h 140"/>
                <a:gd name="T14" fmla="*/ 6 w 962"/>
                <a:gd name="T15" fmla="*/ 28 h 140"/>
                <a:gd name="T16" fmla="*/ 28 w 962"/>
                <a:gd name="T17" fmla="*/ 71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2" h="140">
                  <a:moveTo>
                    <a:pt x="28" y="71"/>
                  </a:moveTo>
                  <a:cubicBezTo>
                    <a:pt x="175" y="117"/>
                    <a:pt x="328" y="140"/>
                    <a:pt x="482" y="140"/>
                  </a:cubicBezTo>
                  <a:cubicBezTo>
                    <a:pt x="636" y="140"/>
                    <a:pt x="789" y="117"/>
                    <a:pt x="936" y="71"/>
                  </a:cubicBezTo>
                  <a:cubicBezTo>
                    <a:pt x="948" y="67"/>
                    <a:pt x="956" y="58"/>
                    <a:pt x="959" y="46"/>
                  </a:cubicBezTo>
                  <a:cubicBezTo>
                    <a:pt x="962" y="34"/>
                    <a:pt x="958" y="21"/>
                    <a:pt x="949" y="13"/>
                  </a:cubicBezTo>
                  <a:cubicBezTo>
                    <a:pt x="940" y="5"/>
                    <a:pt x="927" y="2"/>
                    <a:pt x="916" y="6"/>
                  </a:cubicBezTo>
                  <a:cubicBezTo>
                    <a:pt x="633" y="94"/>
                    <a:pt x="331" y="94"/>
                    <a:pt x="49" y="6"/>
                  </a:cubicBezTo>
                  <a:cubicBezTo>
                    <a:pt x="31" y="0"/>
                    <a:pt x="11" y="10"/>
                    <a:pt x="6" y="28"/>
                  </a:cubicBezTo>
                  <a:cubicBezTo>
                    <a:pt x="0" y="46"/>
                    <a:pt x="10" y="65"/>
                    <a:pt x="28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65" name="Freeform 11">
              <a:extLst>
                <a:ext uri="{FF2B5EF4-FFF2-40B4-BE49-F238E27FC236}">
                  <a16:creationId xmlns:a16="http://schemas.microsoft.com/office/drawing/2014/main" id="{D4D4496D-409E-41FE-9B67-BD35B30AFE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473"/>
              <a:ext cx="119" cy="13"/>
            </a:xfrm>
            <a:custGeom>
              <a:avLst/>
              <a:gdLst>
                <a:gd name="T0" fmla="*/ 31 w 960"/>
                <a:gd name="T1" fmla="*/ 70 h 105"/>
                <a:gd name="T2" fmla="*/ 480 w 960"/>
                <a:gd name="T3" fmla="*/ 105 h 105"/>
                <a:gd name="T4" fmla="*/ 929 w 960"/>
                <a:gd name="T5" fmla="*/ 70 h 105"/>
                <a:gd name="T6" fmla="*/ 956 w 960"/>
                <a:gd name="T7" fmla="*/ 49 h 105"/>
                <a:gd name="T8" fmla="*/ 951 w 960"/>
                <a:gd name="T9" fmla="*/ 15 h 105"/>
                <a:gd name="T10" fmla="*/ 918 w 960"/>
                <a:gd name="T11" fmla="*/ 3 h 105"/>
                <a:gd name="T12" fmla="*/ 42 w 960"/>
                <a:gd name="T13" fmla="*/ 3 h 105"/>
                <a:gd name="T14" fmla="*/ 3 w 960"/>
                <a:gd name="T15" fmla="*/ 31 h 105"/>
                <a:gd name="T16" fmla="*/ 31 w 960"/>
                <a:gd name="T17" fmla="*/ 7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0" h="105">
                  <a:moveTo>
                    <a:pt x="31" y="70"/>
                  </a:moveTo>
                  <a:cubicBezTo>
                    <a:pt x="180" y="93"/>
                    <a:pt x="330" y="105"/>
                    <a:pt x="480" y="105"/>
                  </a:cubicBezTo>
                  <a:cubicBezTo>
                    <a:pt x="630" y="105"/>
                    <a:pt x="780" y="93"/>
                    <a:pt x="929" y="70"/>
                  </a:cubicBezTo>
                  <a:cubicBezTo>
                    <a:pt x="941" y="68"/>
                    <a:pt x="951" y="60"/>
                    <a:pt x="956" y="49"/>
                  </a:cubicBezTo>
                  <a:cubicBezTo>
                    <a:pt x="960" y="37"/>
                    <a:pt x="958" y="24"/>
                    <a:pt x="951" y="15"/>
                  </a:cubicBezTo>
                  <a:cubicBezTo>
                    <a:pt x="943" y="5"/>
                    <a:pt x="931" y="1"/>
                    <a:pt x="918" y="3"/>
                  </a:cubicBezTo>
                  <a:cubicBezTo>
                    <a:pt x="628" y="47"/>
                    <a:pt x="332" y="47"/>
                    <a:pt x="42" y="3"/>
                  </a:cubicBezTo>
                  <a:cubicBezTo>
                    <a:pt x="23" y="0"/>
                    <a:pt x="6" y="13"/>
                    <a:pt x="3" y="31"/>
                  </a:cubicBezTo>
                  <a:cubicBezTo>
                    <a:pt x="0" y="50"/>
                    <a:pt x="13" y="67"/>
                    <a:pt x="31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66" name="Freeform 12">
              <a:extLst>
                <a:ext uri="{FF2B5EF4-FFF2-40B4-BE49-F238E27FC236}">
                  <a16:creationId xmlns:a16="http://schemas.microsoft.com/office/drawing/2014/main" id="{E926905F-89C2-4766-9DFB-62C229B06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8" y="1528"/>
              <a:ext cx="119" cy="25"/>
            </a:xfrm>
            <a:custGeom>
              <a:avLst/>
              <a:gdLst>
                <a:gd name="T0" fmla="*/ 910 w 962"/>
                <a:gd name="T1" fmla="*/ 6 h 209"/>
                <a:gd name="T2" fmla="*/ 52 w 962"/>
                <a:gd name="T3" fmla="*/ 6 h 209"/>
                <a:gd name="T4" fmla="*/ 17 w 962"/>
                <a:gd name="T5" fmla="*/ 8 h 209"/>
                <a:gd name="T6" fmla="*/ 1 w 962"/>
                <a:gd name="T7" fmla="*/ 40 h 209"/>
                <a:gd name="T8" fmla="*/ 23 w 962"/>
                <a:gd name="T9" fmla="*/ 68 h 209"/>
                <a:gd name="T10" fmla="*/ 939 w 962"/>
                <a:gd name="T11" fmla="*/ 68 h 209"/>
                <a:gd name="T12" fmla="*/ 961 w 962"/>
                <a:gd name="T13" fmla="*/ 40 h 209"/>
                <a:gd name="T14" fmla="*/ 945 w 962"/>
                <a:gd name="T15" fmla="*/ 8 h 209"/>
                <a:gd name="T16" fmla="*/ 910 w 962"/>
                <a:gd name="T17" fmla="*/ 6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2" h="209">
                  <a:moveTo>
                    <a:pt x="910" y="6"/>
                  </a:moveTo>
                  <a:cubicBezTo>
                    <a:pt x="639" y="139"/>
                    <a:pt x="323" y="139"/>
                    <a:pt x="52" y="6"/>
                  </a:cubicBezTo>
                  <a:cubicBezTo>
                    <a:pt x="41" y="0"/>
                    <a:pt x="27" y="1"/>
                    <a:pt x="17" y="8"/>
                  </a:cubicBezTo>
                  <a:cubicBezTo>
                    <a:pt x="6" y="15"/>
                    <a:pt x="0" y="27"/>
                    <a:pt x="1" y="40"/>
                  </a:cubicBezTo>
                  <a:cubicBezTo>
                    <a:pt x="3" y="52"/>
                    <a:pt x="11" y="63"/>
                    <a:pt x="23" y="68"/>
                  </a:cubicBezTo>
                  <a:cubicBezTo>
                    <a:pt x="312" y="209"/>
                    <a:pt x="650" y="209"/>
                    <a:pt x="939" y="68"/>
                  </a:cubicBezTo>
                  <a:cubicBezTo>
                    <a:pt x="951" y="63"/>
                    <a:pt x="959" y="52"/>
                    <a:pt x="961" y="40"/>
                  </a:cubicBezTo>
                  <a:cubicBezTo>
                    <a:pt x="962" y="27"/>
                    <a:pt x="956" y="15"/>
                    <a:pt x="945" y="8"/>
                  </a:cubicBezTo>
                  <a:cubicBezTo>
                    <a:pt x="935" y="1"/>
                    <a:pt x="921" y="0"/>
                    <a:pt x="9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67" name="Freeform 13">
              <a:extLst>
                <a:ext uri="{FF2B5EF4-FFF2-40B4-BE49-F238E27FC236}">
                  <a16:creationId xmlns:a16="http://schemas.microsoft.com/office/drawing/2014/main" id="{147AEB25-1C3C-4AEB-A965-5534491391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1" y="1401"/>
              <a:ext cx="253" cy="186"/>
            </a:xfrm>
            <a:custGeom>
              <a:avLst/>
              <a:gdLst>
                <a:gd name="T0" fmla="*/ 1735 w 2048"/>
                <a:gd name="T1" fmla="*/ 341 h 1503"/>
                <a:gd name="T2" fmla="*/ 1587 w 2048"/>
                <a:gd name="T3" fmla="*/ 273 h 1503"/>
                <a:gd name="T4" fmla="*/ 1024 w 2048"/>
                <a:gd name="T5" fmla="*/ 0 h 1503"/>
                <a:gd name="T6" fmla="*/ 461 w 2048"/>
                <a:gd name="T7" fmla="*/ 273 h 1503"/>
                <a:gd name="T8" fmla="*/ 313 w 2048"/>
                <a:gd name="T9" fmla="*/ 341 h 1503"/>
                <a:gd name="T10" fmla="*/ 0 w 2048"/>
                <a:gd name="T11" fmla="*/ 478 h 1503"/>
                <a:gd name="T12" fmla="*/ 356 w 2048"/>
                <a:gd name="T13" fmla="*/ 1020 h 1503"/>
                <a:gd name="T14" fmla="*/ 1080 w 2048"/>
                <a:gd name="T15" fmla="*/ 1499 h 1503"/>
                <a:gd name="T16" fmla="*/ 2048 w 2048"/>
                <a:gd name="T17" fmla="*/ 649 h 1503"/>
                <a:gd name="T18" fmla="*/ 1911 w 2048"/>
                <a:gd name="T19" fmla="*/ 341 h 1503"/>
                <a:gd name="T20" fmla="*/ 461 w 2048"/>
                <a:gd name="T21" fmla="*/ 341 h 1503"/>
                <a:gd name="T22" fmla="*/ 1024 w 2048"/>
                <a:gd name="T23" fmla="*/ 68 h 1503"/>
                <a:gd name="T24" fmla="*/ 1587 w 2048"/>
                <a:gd name="T25" fmla="*/ 341 h 1503"/>
                <a:gd name="T26" fmla="*/ 1673 w 2048"/>
                <a:gd name="T27" fmla="*/ 376 h 1503"/>
                <a:gd name="T28" fmla="*/ 1570 w 2048"/>
                <a:gd name="T29" fmla="*/ 409 h 1503"/>
                <a:gd name="T30" fmla="*/ 1156 w 2048"/>
                <a:gd name="T31" fmla="*/ 199 h 1503"/>
                <a:gd name="T32" fmla="*/ 892 w 2048"/>
                <a:gd name="T33" fmla="*/ 200 h 1503"/>
                <a:gd name="T34" fmla="*/ 478 w 2048"/>
                <a:gd name="T35" fmla="*/ 409 h 1503"/>
                <a:gd name="T36" fmla="*/ 375 w 2048"/>
                <a:gd name="T37" fmla="*/ 376 h 1503"/>
                <a:gd name="T38" fmla="*/ 68 w 2048"/>
                <a:gd name="T39" fmla="*/ 649 h 1503"/>
                <a:gd name="T40" fmla="*/ 137 w 2048"/>
                <a:gd name="T41" fmla="*/ 410 h 1503"/>
                <a:gd name="T42" fmla="*/ 307 w 2048"/>
                <a:gd name="T43" fmla="*/ 751 h 1503"/>
                <a:gd name="T44" fmla="*/ 68 w 2048"/>
                <a:gd name="T45" fmla="*/ 649 h 1503"/>
                <a:gd name="T46" fmla="*/ 975 w 2048"/>
                <a:gd name="T47" fmla="*/ 1431 h 1503"/>
                <a:gd name="T48" fmla="*/ 414 w 2048"/>
                <a:gd name="T49" fmla="*/ 978 h 1503"/>
                <a:gd name="T50" fmla="*/ 375 w 2048"/>
                <a:gd name="T51" fmla="*/ 478 h 1503"/>
                <a:gd name="T52" fmla="*/ 945 w 2048"/>
                <a:gd name="T53" fmla="*/ 243 h 1503"/>
                <a:gd name="T54" fmla="*/ 1103 w 2048"/>
                <a:gd name="T55" fmla="*/ 243 h 1503"/>
                <a:gd name="T56" fmla="*/ 1570 w 2048"/>
                <a:gd name="T57" fmla="*/ 478 h 1503"/>
                <a:gd name="T58" fmla="*/ 1673 w 2048"/>
                <a:gd name="T59" fmla="*/ 751 h 1503"/>
                <a:gd name="T60" fmla="*/ 1634 w 2048"/>
                <a:gd name="T61" fmla="*/ 978 h 1503"/>
                <a:gd name="T62" fmla="*/ 1980 w 2048"/>
                <a:gd name="T63" fmla="*/ 649 h 1503"/>
                <a:gd name="T64" fmla="*/ 1741 w 2048"/>
                <a:gd name="T65" fmla="*/ 751 h 1503"/>
                <a:gd name="T66" fmla="*/ 1911 w 2048"/>
                <a:gd name="T67" fmla="*/ 410 h 1503"/>
                <a:gd name="T68" fmla="*/ 1980 w 2048"/>
                <a:gd name="T69" fmla="*/ 649 h 1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48" h="1503">
                  <a:moveTo>
                    <a:pt x="1911" y="341"/>
                  </a:moveTo>
                  <a:cubicBezTo>
                    <a:pt x="1735" y="341"/>
                    <a:pt x="1735" y="341"/>
                    <a:pt x="1735" y="341"/>
                  </a:cubicBezTo>
                  <a:cubicBezTo>
                    <a:pt x="1720" y="301"/>
                    <a:pt x="1682" y="273"/>
                    <a:pt x="1638" y="273"/>
                  </a:cubicBezTo>
                  <a:cubicBezTo>
                    <a:pt x="1587" y="273"/>
                    <a:pt x="1587" y="273"/>
                    <a:pt x="1587" y="273"/>
                  </a:cubicBezTo>
                  <a:cubicBezTo>
                    <a:pt x="1460" y="271"/>
                    <a:pt x="1341" y="213"/>
                    <a:pt x="1262" y="113"/>
                  </a:cubicBezTo>
                  <a:cubicBezTo>
                    <a:pt x="1204" y="42"/>
                    <a:pt x="1116" y="0"/>
                    <a:pt x="1024" y="0"/>
                  </a:cubicBezTo>
                  <a:cubicBezTo>
                    <a:pt x="932" y="0"/>
                    <a:pt x="844" y="42"/>
                    <a:pt x="786" y="113"/>
                  </a:cubicBezTo>
                  <a:cubicBezTo>
                    <a:pt x="707" y="213"/>
                    <a:pt x="588" y="271"/>
                    <a:pt x="461" y="273"/>
                  </a:cubicBezTo>
                  <a:cubicBezTo>
                    <a:pt x="410" y="273"/>
                    <a:pt x="410" y="273"/>
                    <a:pt x="410" y="273"/>
                  </a:cubicBezTo>
                  <a:cubicBezTo>
                    <a:pt x="366" y="273"/>
                    <a:pt x="328" y="301"/>
                    <a:pt x="313" y="341"/>
                  </a:cubicBezTo>
                  <a:cubicBezTo>
                    <a:pt x="137" y="341"/>
                    <a:pt x="137" y="341"/>
                    <a:pt x="137" y="341"/>
                  </a:cubicBezTo>
                  <a:cubicBezTo>
                    <a:pt x="61" y="341"/>
                    <a:pt x="0" y="403"/>
                    <a:pt x="0" y="478"/>
                  </a:cubicBezTo>
                  <a:cubicBezTo>
                    <a:pt x="0" y="649"/>
                    <a:pt x="0" y="649"/>
                    <a:pt x="0" y="649"/>
                  </a:cubicBezTo>
                  <a:cubicBezTo>
                    <a:pt x="0" y="828"/>
                    <a:pt x="161" y="993"/>
                    <a:pt x="356" y="1020"/>
                  </a:cubicBezTo>
                  <a:cubicBezTo>
                    <a:pt x="452" y="1283"/>
                    <a:pt x="689" y="1469"/>
                    <a:pt x="968" y="1499"/>
                  </a:cubicBezTo>
                  <a:cubicBezTo>
                    <a:pt x="1005" y="1503"/>
                    <a:pt x="1043" y="1503"/>
                    <a:pt x="1080" y="1499"/>
                  </a:cubicBezTo>
                  <a:cubicBezTo>
                    <a:pt x="1359" y="1469"/>
                    <a:pt x="1596" y="1283"/>
                    <a:pt x="1692" y="1020"/>
                  </a:cubicBezTo>
                  <a:cubicBezTo>
                    <a:pt x="1887" y="993"/>
                    <a:pt x="2048" y="828"/>
                    <a:pt x="2048" y="649"/>
                  </a:cubicBezTo>
                  <a:cubicBezTo>
                    <a:pt x="2048" y="478"/>
                    <a:pt x="2048" y="478"/>
                    <a:pt x="2048" y="478"/>
                  </a:cubicBezTo>
                  <a:cubicBezTo>
                    <a:pt x="2048" y="403"/>
                    <a:pt x="1987" y="341"/>
                    <a:pt x="1911" y="341"/>
                  </a:cubicBezTo>
                  <a:close/>
                  <a:moveTo>
                    <a:pt x="410" y="341"/>
                  </a:moveTo>
                  <a:cubicBezTo>
                    <a:pt x="461" y="341"/>
                    <a:pt x="461" y="341"/>
                    <a:pt x="461" y="341"/>
                  </a:cubicBezTo>
                  <a:cubicBezTo>
                    <a:pt x="608" y="340"/>
                    <a:pt x="747" y="272"/>
                    <a:pt x="839" y="156"/>
                  </a:cubicBezTo>
                  <a:cubicBezTo>
                    <a:pt x="884" y="101"/>
                    <a:pt x="952" y="68"/>
                    <a:pt x="1024" y="68"/>
                  </a:cubicBezTo>
                  <a:cubicBezTo>
                    <a:pt x="1096" y="68"/>
                    <a:pt x="1164" y="101"/>
                    <a:pt x="1209" y="156"/>
                  </a:cubicBezTo>
                  <a:cubicBezTo>
                    <a:pt x="1301" y="272"/>
                    <a:pt x="1440" y="340"/>
                    <a:pt x="1587" y="341"/>
                  </a:cubicBezTo>
                  <a:cubicBezTo>
                    <a:pt x="1638" y="341"/>
                    <a:pt x="1638" y="341"/>
                    <a:pt x="1638" y="341"/>
                  </a:cubicBezTo>
                  <a:cubicBezTo>
                    <a:pt x="1657" y="341"/>
                    <a:pt x="1673" y="357"/>
                    <a:pt x="1673" y="376"/>
                  </a:cubicBezTo>
                  <a:cubicBezTo>
                    <a:pt x="1673" y="410"/>
                    <a:pt x="1673" y="410"/>
                    <a:pt x="1673" y="410"/>
                  </a:cubicBezTo>
                  <a:cubicBezTo>
                    <a:pt x="1570" y="409"/>
                    <a:pt x="1570" y="409"/>
                    <a:pt x="1570" y="409"/>
                  </a:cubicBezTo>
                  <a:cubicBezTo>
                    <a:pt x="1569" y="409"/>
                    <a:pt x="1569" y="409"/>
                    <a:pt x="1569" y="409"/>
                  </a:cubicBezTo>
                  <a:cubicBezTo>
                    <a:pt x="1407" y="405"/>
                    <a:pt x="1255" y="328"/>
                    <a:pt x="1156" y="199"/>
                  </a:cubicBezTo>
                  <a:cubicBezTo>
                    <a:pt x="1124" y="160"/>
                    <a:pt x="1075" y="137"/>
                    <a:pt x="1024" y="137"/>
                  </a:cubicBezTo>
                  <a:cubicBezTo>
                    <a:pt x="972" y="137"/>
                    <a:pt x="924" y="160"/>
                    <a:pt x="892" y="200"/>
                  </a:cubicBezTo>
                  <a:cubicBezTo>
                    <a:pt x="792" y="328"/>
                    <a:pt x="641" y="405"/>
                    <a:pt x="479" y="409"/>
                  </a:cubicBezTo>
                  <a:cubicBezTo>
                    <a:pt x="478" y="409"/>
                    <a:pt x="478" y="409"/>
                    <a:pt x="478" y="409"/>
                  </a:cubicBezTo>
                  <a:cubicBezTo>
                    <a:pt x="375" y="410"/>
                    <a:pt x="375" y="410"/>
                    <a:pt x="375" y="410"/>
                  </a:cubicBezTo>
                  <a:cubicBezTo>
                    <a:pt x="375" y="376"/>
                    <a:pt x="375" y="376"/>
                    <a:pt x="375" y="376"/>
                  </a:cubicBezTo>
                  <a:cubicBezTo>
                    <a:pt x="375" y="357"/>
                    <a:pt x="391" y="341"/>
                    <a:pt x="410" y="341"/>
                  </a:cubicBezTo>
                  <a:close/>
                  <a:moveTo>
                    <a:pt x="68" y="649"/>
                  </a:moveTo>
                  <a:cubicBezTo>
                    <a:pt x="68" y="478"/>
                    <a:pt x="68" y="478"/>
                    <a:pt x="68" y="478"/>
                  </a:cubicBezTo>
                  <a:cubicBezTo>
                    <a:pt x="68" y="440"/>
                    <a:pt x="99" y="410"/>
                    <a:pt x="137" y="410"/>
                  </a:cubicBezTo>
                  <a:cubicBezTo>
                    <a:pt x="307" y="410"/>
                    <a:pt x="307" y="410"/>
                    <a:pt x="307" y="410"/>
                  </a:cubicBezTo>
                  <a:cubicBezTo>
                    <a:pt x="307" y="751"/>
                    <a:pt x="307" y="751"/>
                    <a:pt x="307" y="751"/>
                  </a:cubicBezTo>
                  <a:cubicBezTo>
                    <a:pt x="307" y="817"/>
                    <a:pt x="316" y="883"/>
                    <a:pt x="333" y="946"/>
                  </a:cubicBezTo>
                  <a:cubicBezTo>
                    <a:pt x="197" y="914"/>
                    <a:pt x="68" y="798"/>
                    <a:pt x="68" y="649"/>
                  </a:cubicBezTo>
                  <a:close/>
                  <a:moveTo>
                    <a:pt x="1073" y="1431"/>
                  </a:moveTo>
                  <a:cubicBezTo>
                    <a:pt x="1041" y="1435"/>
                    <a:pt x="1007" y="1435"/>
                    <a:pt x="975" y="1431"/>
                  </a:cubicBezTo>
                  <a:cubicBezTo>
                    <a:pt x="715" y="1403"/>
                    <a:pt x="496" y="1226"/>
                    <a:pt x="414" y="978"/>
                  </a:cubicBezTo>
                  <a:cubicBezTo>
                    <a:pt x="414" y="978"/>
                    <a:pt x="414" y="978"/>
                    <a:pt x="414" y="978"/>
                  </a:cubicBezTo>
                  <a:cubicBezTo>
                    <a:pt x="389" y="905"/>
                    <a:pt x="376" y="828"/>
                    <a:pt x="375" y="751"/>
                  </a:cubicBezTo>
                  <a:cubicBezTo>
                    <a:pt x="375" y="478"/>
                    <a:pt x="375" y="478"/>
                    <a:pt x="375" y="478"/>
                  </a:cubicBezTo>
                  <a:cubicBezTo>
                    <a:pt x="478" y="478"/>
                    <a:pt x="478" y="478"/>
                    <a:pt x="478" y="478"/>
                  </a:cubicBezTo>
                  <a:cubicBezTo>
                    <a:pt x="661" y="474"/>
                    <a:pt x="833" y="388"/>
                    <a:pt x="945" y="243"/>
                  </a:cubicBezTo>
                  <a:cubicBezTo>
                    <a:pt x="964" y="219"/>
                    <a:pt x="993" y="205"/>
                    <a:pt x="1024" y="205"/>
                  </a:cubicBezTo>
                  <a:cubicBezTo>
                    <a:pt x="1055" y="205"/>
                    <a:pt x="1084" y="219"/>
                    <a:pt x="1103" y="243"/>
                  </a:cubicBezTo>
                  <a:cubicBezTo>
                    <a:pt x="1215" y="387"/>
                    <a:pt x="1387" y="473"/>
                    <a:pt x="1569" y="478"/>
                  </a:cubicBezTo>
                  <a:cubicBezTo>
                    <a:pt x="1570" y="478"/>
                    <a:pt x="1570" y="478"/>
                    <a:pt x="1570" y="478"/>
                  </a:cubicBezTo>
                  <a:cubicBezTo>
                    <a:pt x="1673" y="478"/>
                    <a:pt x="1673" y="478"/>
                    <a:pt x="1673" y="478"/>
                  </a:cubicBezTo>
                  <a:cubicBezTo>
                    <a:pt x="1673" y="751"/>
                    <a:pt x="1673" y="751"/>
                    <a:pt x="1673" y="751"/>
                  </a:cubicBezTo>
                  <a:cubicBezTo>
                    <a:pt x="1672" y="828"/>
                    <a:pt x="1660" y="905"/>
                    <a:pt x="1634" y="978"/>
                  </a:cubicBezTo>
                  <a:cubicBezTo>
                    <a:pt x="1634" y="978"/>
                    <a:pt x="1634" y="978"/>
                    <a:pt x="1634" y="978"/>
                  </a:cubicBezTo>
                  <a:cubicBezTo>
                    <a:pt x="1552" y="1226"/>
                    <a:pt x="1333" y="1403"/>
                    <a:pt x="1073" y="1431"/>
                  </a:cubicBezTo>
                  <a:close/>
                  <a:moveTo>
                    <a:pt x="1980" y="649"/>
                  </a:moveTo>
                  <a:cubicBezTo>
                    <a:pt x="1980" y="798"/>
                    <a:pt x="1851" y="914"/>
                    <a:pt x="1715" y="946"/>
                  </a:cubicBezTo>
                  <a:cubicBezTo>
                    <a:pt x="1732" y="883"/>
                    <a:pt x="1741" y="817"/>
                    <a:pt x="1741" y="751"/>
                  </a:cubicBezTo>
                  <a:cubicBezTo>
                    <a:pt x="1741" y="410"/>
                    <a:pt x="1741" y="410"/>
                    <a:pt x="1741" y="410"/>
                  </a:cubicBezTo>
                  <a:cubicBezTo>
                    <a:pt x="1911" y="410"/>
                    <a:pt x="1911" y="410"/>
                    <a:pt x="1911" y="410"/>
                  </a:cubicBezTo>
                  <a:cubicBezTo>
                    <a:pt x="1949" y="410"/>
                    <a:pt x="1980" y="440"/>
                    <a:pt x="1980" y="478"/>
                  </a:cubicBezTo>
                  <a:lnTo>
                    <a:pt x="1980" y="6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8ED9B3ED-7120-4603-8CCD-E00D81660B0D}"/>
              </a:ext>
            </a:extLst>
          </p:cNvPr>
          <p:cNvGrpSpPr/>
          <p:nvPr/>
        </p:nvGrpSpPr>
        <p:grpSpPr>
          <a:xfrm>
            <a:off x="10045634" y="558800"/>
            <a:ext cx="1165214" cy="931489"/>
            <a:chOff x="10053740" y="592613"/>
            <a:chExt cx="1072349" cy="857252"/>
          </a:xfrm>
          <a:solidFill>
            <a:srgbClr val="FAD34D"/>
          </a:solidFill>
        </p:grpSpPr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9BD9D4C9-303D-41A4-A402-99D2D79FA1F4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-4572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FF35A2C7-7F7E-49E8-91F3-9D5BBBDCA451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-4572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42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836A0183-6497-4F5C-A1B9-42C92C759ACC}"/>
              </a:ext>
            </a:extLst>
          </p:cNvPr>
          <p:cNvSpPr txBox="1"/>
          <p:nvPr/>
        </p:nvSpPr>
        <p:spPr>
          <a:xfrm>
            <a:off x="8919557" y="1963831"/>
            <a:ext cx="2938956" cy="9857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4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F719DD93-EFDD-4661-BCE9-8152866A1170}"/>
              </a:ext>
            </a:extLst>
          </p:cNvPr>
          <p:cNvSpPr txBox="1"/>
          <p:nvPr/>
        </p:nvSpPr>
        <p:spPr>
          <a:xfrm>
            <a:off x="8911444" y="3119065"/>
            <a:ext cx="2938956" cy="9857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44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A9AE0E10-276A-4B62-B97C-CD3C674FDEEE}"/>
              </a:ext>
            </a:extLst>
          </p:cNvPr>
          <p:cNvSpPr txBox="1"/>
          <p:nvPr/>
        </p:nvSpPr>
        <p:spPr>
          <a:xfrm>
            <a:off x="8942259" y="4173918"/>
            <a:ext cx="2938956" cy="9857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45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A0BF7236-7201-4FEC-8FAB-366C52915621}"/>
              </a:ext>
            </a:extLst>
          </p:cNvPr>
          <p:cNvSpPr txBox="1"/>
          <p:nvPr/>
        </p:nvSpPr>
        <p:spPr>
          <a:xfrm>
            <a:off x="8911444" y="5289408"/>
            <a:ext cx="2938956" cy="9857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A744F5EE-814E-4CC3-815C-512CFFFFF3F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2059" y="1559057"/>
            <a:ext cx="4584254" cy="4584254"/>
          </a:xfrm>
          <a:prstGeom prst="rect">
            <a:avLst/>
          </a:prstGeom>
        </p:spPr>
      </p:pic>
      <p:sp>
        <p:nvSpPr>
          <p:cNvPr id="48" name="iSľiḋè">
            <a:extLst>
              <a:ext uri="{FF2B5EF4-FFF2-40B4-BE49-F238E27FC236}">
                <a16:creationId xmlns:a16="http://schemas.microsoft.com/office/drawing/2014/main" id="{6967CB7D-6FC9-4C6F-9BD1-322E2AF75915}"/>
              </a:ext>
            </a:extLst>
          </p:cNvPr>
          <p:cNvSpPr/>
          <p:nvPr/>
        </p:nvSpPr>
        <p:spPr>
          <a:xfrm>
            <a:off x="675600" y="1347870"/>
            <a:ext cx="2329243" cy="4314547"/>
          </a:xfrm>
          <a:prstGeom prst="roundRect">
            <a:avLst>
              <a:gd name="adj" fmla="val 10000"/>
            </a:avLst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711200" dist="254000" dir="2700000" sx="102000" sy="102000" algn="tl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/>
            <a:endParaRPr lang="zh-CN" altLang="en-US" kern="0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49" name="išļiḓe">
            <a:extLst>
              <a:ext uri="{FF2B5EF4-FFF2-40B4-BE49-F238E27FC236}">
                <a16:creationId xmlns:a16="http://schemas.microsoft.com/office/drawing/2014/main" id="{303F6161-31AA-46E5-AD3F-2F5742E39FD2}"/>
              </a:ext>
            </a:extLst>
          </p:cNvPr>
          <p:cNvSpPr/>
          <p:nvPr/>
        </p:nvSpPr>
        <p:spPr>
          <a:xfrm>
            <a:off x="1487903" y="2223755"/>
            <a:ext cx="704637" cy="704637"/>
          </a:xfrm>
          <a:prstGeom prst="ellipse">
            <a:avLst/>
          </a:prstGeom>
          <a:noFill/>
          <a:ln w="12700" cap="rnd">
            <a:solidFill>
              <a:schemeClr val="bg2">
                <a:lumMod val="2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50" name="íṡliḋê">
            <a:extLst>
              <a:ext uri="{FF2B5EF4-FFF2-40B4-BE49-F238E27FC236}">
                <a16:creationId xmlns:a16="http://schemas.microsoft.com/office/drawing/2014/main" id="{9E948A59-415F-4236-8EE8-EDF1B5E3188C}"/>
              </a:ext>
            </a:extLst>
          </p:cNvPr>
          <p:cNvSpPr/>
          <p:nvPr/>
        </p:nvSpPr>
        <p:spPr bwMode="auto">
          <a:xfrm>
            <a:off x="1664870" y="2381561"/>
            <a:ext cx="350703" cy="389025"/>
          </a:xfrm>
          <a:custGeom>
            <a:avLst/>
            <a:gdLst>
              <a:gd name="connsiteX0" fmla="*/ 362430 w 495300"/>
              <a:gd name="connsiteY0" fmla="*/ 621 h 533400"/>
              <a:gd name="connsiteX1" fmla="*/ 400530 w 495300"/>
              <a:gd name="connsiteY1" fmla="*/ 38721 h 533400"/>
              <a:gd name="connsiteX2" fmla="*/ 400530 w 495300"/>
              <a:gd name="connsiteY2" fmla="*/ 38721 h 533400"/>
              <a:gd name="connsiteX3" fmla="*/ 400530 w 495300"/>
              <a:gd name="connsiteY3" fmla="*/ 124446 h 533400"/>
              <a:gd name="connsiteX4" fmla="*/ 362430 w 495300"/>
              <a:gd name="connsiteY4" fmla="*/ 162546 h 533400"/>
              <a:gd name="connsiteX5" fmla="*/ 362430 w 495300"/>
              <a:gd name="connsiteY5" fmla="*/ 162546 h 533400"/>
              <a:gd name="connsiteX6" fmla="*/ 257655 w 495300"/>
              <a:gd name="connsiteY6" fmla="*/ 162546 h 533400"/>
              <a:gd name="connsiteX7" fmla="*/ 257655 w 495300"/>
              <a:gd name="connsiteY7" fmla="*/ 295896 h 533400"/>
              <a:gd name="connsiteX8" fmla="*/ 419580 w 495300"/>
              <a:gd name="connsiteY8" fmla="*/ 295896 h 533400"/>
              <a:gd name="connsiteX9" fmla="*/ 457680 w 495300"/>
              <a:gd name="connsiteY9" fmla="*/ 332091 h 533400"/>
              <a:gd name="connsiteX10" fmla="*/ 457680 w 495300"/>
              <a:gd name="connsiteY10" fmla="*/ 333996 h 533400"/>
              <a:gd name="connsiteX11" fmla="*/ 457680 w 495300"/>
              <a:gd name="connsiteY11" fmla="*/ 438771 h 533400"/>
              <a:gd name="connsiteX12" fmla="*/ 467205 w 495300"/>
              <a:gd name="connsiteY12" fmla="*/ 438771 h 533400"/>
              <a:gd name="connsiteX13" fmla="*/ 495780 w 495300"/>
              <a:gd name="connsiteY13" fmla="*/ 465441 h 533400"/>
              <a:gd name="connsiteX14" fmla="*/ 495780 w 495300"/>
              <a:gd name="connsiteY14" fmla="*/ 467346 h 533400"/>
              <a:gd name="connsiteX15" fmla="*/ 495780 w 495300"/>
              <a:gd name="connsiteY15" fmla="*/ 505446 h 533400"/>
              <a:gd name="connsiteX16" fmla="*/ 467205 w 495300"/>
              <a:gd name="connsiteY16" fmla="*/ 534021 h 533400"/>
              <a:gd name="connsiteX17" fmla="*/ 467205 w 495300"/>
              <a:gd name="connsiteY17" fmla="*/ 534021 h 533400"/>
              <a:gd name="connsiteX18" fmla="*/ 429105 w 495300"/>
              <a:gd name="connsiteY18" fmla="*/ 534021 h 533400"/>
              <a:gd name="connsiteX19" fmla="*/ 400530 w 495300"/>
              <a:gd name="connsiteY19" fmla="*/ 505446 h 533400"/>
              <a:gd name="connsiteX20" fmla="*/ 400530 w 495300"/>
              <a:gd name="connsiteY20" fmla="*/ 505446 h 533400"/>
              <a:gd name="connsiteX21" fmla="*/ 400530 w 495300"/>
              <a:gd name="connsiteY21" fmla="*/ 467346 h 533400"/>
              <a:gd name="connsiteX22" fmla="*/ 429105 w 495300"/>
              <a:gd name="connsiteY22" fmla="*/ 438771 h 533400"/>
              <a:gd name="connsiteX23" fmla="*/ 429105 w 495300"/>
              <a:gd name="connsiteY23" fmla="*/ 438771 h 533400"/>
              <a:gd name="connsiteX24" fmla="*/ 438630 w 495300"/>
              <a:gd name="connsiteY24" fmla="*/ 438771 h 533400"/>
              <a:gd name="connsiteX25" fmla="*/ 438630 w 495300"/>
              <a:gd name="connsiteY25" fmla="*/ 333996 h 533400"/>
              <a:gd name="connsiteX26" fmla="*/ 420533 w 495300"/>
              <a:gd name="connsiteY26" fmla="*/ 314946 h 533400"/>
              <a:gd name="connsiteX27" fmla="*/ 419580 w 495300"/>
              <a:gd name="connsiteY27" fmla="*/ 314946 h 533400"/>
              <a:gd name="connsiteX28" fmla="*/ 257655 w 495300"/>
              <a:gd name="connsiteY28" fmla="*/ 314946 h 533400"/>
              <a:gd name="connsiteX29" fmla="*/ 257655 w 495300"/>
              <a:gd name="connsiteY29" fmla="*/ 438771 h 533400"/>
              <a:gd name="connsiteX30" fmla="*/ 267180 w 495300"/>
              <a:gd name="connsiteY30" fmla="*/ 438771 h 533400"/>
              <a:gd name="connsiteX31" fmla="*/ 295755 w 495300"/>
              <a:gd name="connsiteY31" fmla="*/ 465441 h 533400"/>
              <a:gd name="connsiteX32" fmla="*/ 295755 w 495300"/>
              <a:gd name="connsiteY32" fmla="*/ 467346 h 533400"/>
              <a:gd name="connsiteX33" fmla="*/ 295755 w 495300"/>
              <a:gd name="connsiteY33" fmla="*/ 505446 h 533400"/>
              <a:gd name="connsiteX34" fmla="*/ 267180 w 495300"/>
              <a:gd name="connsiteY34" fmla="*/ 534021 h 533400"/>
              <a:gd name="connsiteX35" fmla="*/ 267180 w 495300"/>
              <a:gd name="connsiteY35" fmla="*/ 534021 h 533400"/>
              <a:gd name="connsiteX36" fmla="*/ 229080 w 495300"/>
              <a:gd name="connsiteY36" fmla="*/ 534021 h 533400"/>
              <a:gd name="connsiteX37" fmla="*/ 200505 w 495300"/>
              <a:gd name="connsiteY37" fmla="*/ 505446 h 533400"/>
              <a:gd name="connsiteX38" fmla="*/ 200505 w 495300"/>
              <a:gd name="connsiteY38" fmla="*/ 505446 h 533400"/>
              <a:gd name="connsiteX39" fmla="*/ 200505 w 495300"/>
              <a:gd name="connsiteY39" fmla="*/ 467346 h 533400"/>
              <a:gd name="connsiteX40" fmla="*/ 229080 w 495300"/>
              <a:gd name="connsiteY40" fmla="*/ 438771 h 533400"/>
              <a:gd name="connsiteX41" fmla="*/ 229080 w 495300"/>
              <a:gd name="connsiteY41" fmla="*/ 438771 h 533400"/>
              <a:gd name="connsiteX42" fmla="*/ 238605 w 495300"/>
              <a:gd name="connsiteY42" fmla="*/ 438771 h 533400"/>
              <a:gd name="connsiteX43" fmla="*/ 238605 w 495300"/>
              <a:gd name="connsiteY43" fmla="*/ 314946 h 533400"/>
              <a:gd name="connsiteX44" fmla="*/ 76680 w 495300"/>
              <a:gd name="connsiteY44" fmla="*/ 314946 h 533400"/>
              <a:gd name="connsiteX45" fmla="*/ 57630 w 495300"/>
              <a:gd name="connsiteY45" fmla="*/ 333044 h 533400"/>
              <a:gd name="connsiteX46" fmla="*/ 57630 w 495300"/>
              <a:gd name="connsiteY46" fmla="*/ 333996 h 533400"/>
              <a:gd name="connsiteX47" fmla="*/ 57630 w 495300"/>
              <a:gd name="connsiteY47" fmla="*/ 438771 h 533400"/>
              <a:gd name="connsiteX48" fmla="*/ 67155 w 495300"/>
              <a:gd name="connsiteY48" fmla="*/ 438771 h 533400"/>
              <a:gd name="connsiteX49" fmla="*/ 95730 w 495300"/>
              <a:gd name="connsiteY49" fmla="*/ 465441 h 533400"/>
              <a:gd name="connsiteX50" fmla="*/ 95730 w 495300"/>
              <a:gd name="connsiteY50" fmla="*/ 467346 h 533400"/>
              <a:gd name="connsiteX51" fmla="*/ 95730 w 495300"/>
              <a:gd name="connsiteY51" fmla="*/ 505446 h 533400"/>
              <a:gd name="connsiteX52" fmla="*/ 67155 w 495300"/>
              <a:gd name="connsiteY52" fmla="*/ 534021 h 533400"/>
              <a:gd name="connsiteX53" fmla="*/ 67155 w 495300"/>
              <a:gd name="connsiteY53" fmla="*/ 534021 h 533400"/>
              <a:gd name="connsiteX54" fmla="*/ 29055 w 495300"/>
              <a:gd name="connsiteY54" fmla="*/ 534021 h 533400"/>
              <a:gd name="connsiteX55" fmla="*/ 480 w 495300"/>
              <a:gd name="connsiteY55" fmla="*/ 505446 h 533400"/>
              <a:gd name="connsiteX56" fmla="*/ 480 w 495300"/>
              <a:gd name="connsiteY56" fmla="*/ 505446 h 533400"/>
              <a:gd name="connsiteX57" fmla="*/ 480 w 495300"/>
              <a:gd name="connsiteY57" fmla="*/ 467346 h 533400"/>
              <a:gd name="connsiteX58" fmla="*/ 29055 w 495300"/>
              <a:gd name="connsiteY58" fmla="*/ 438771 h 533400"/>
              <a:gd name="connsiteX59" fmla="*/ 29055 w 495300"/>
              <a:gd name="connsiteY59" fmla="*/ 438771 h 533400"/>
              <a:gd name="connsiteX60" fmla="*/ 38580 w 495300"/>
              <a:gd name="connsiteY60" fmla="*/ 438771 h 533400"/>
              <a:gd name="connsiteX61" fmla="*/ 38580 w 495300"/>
              <a:gd name="connsiteY61" fmla="*/ 333996 h 533400"/>
              <a:gd name="connsiteX62" fmla="*/ 74775 w 495300"/>
              <a:gd name="connsiteY62" fmla="*/ 295896 h 533400"/>
              <a:gd name="connsiteX63" fmla="*/ 76680 w 495300"/>
              <a:gd name="connsiteY63" fmla="*/ 295896 h 533400"/>
              <a:gd name="connsiteX64" fmla="*/ 238605 w 495300"/>
              <a:gd name="connsiteY64" fmla="*/ 295896 h 533400"/>
              <a:gd name="connsiteX65" fmla="*/ 238605 w 495300"/>
              <a:gd name="connsiteY65" fmla="*/ 162546 h 533400"/>
              <a:gd name="connsiteX66" fmla="*/ 133830 w 495300"/>
              <a:gd name="connsiteY66" fmla="*/ 162546 h 533400"/>
              <a:gd name="connsiteX67" fmla="*/ 95730 w 495300"/>
              <a:gd name="connsiteY67" fmla="*/ 126351 h 533400"/>
              <a:gd name="connsiteX68" fmla="*/ 95730 w 495300"/>
              <a:gd name="connsiteY68" fmla="*/ 124446 h 533400"/>
              <a:gd name="connsiteX69" fmla="*/ 95730 w 495300"/>
              <a:gd name="connsiteY69" fmla="*/ 38721 h 533400"/>
              <a:gd name="connsiteX70" fmla="*/ 133830 w 495300"/>
              <a:gd name="connsiteY70" fmla="*/ 621 h 533400"/>
              <a:gd name="connsiteX71" fmla="*/ 133830 w 495300"/>
              <a:gd name="connsiteY71" fmla="*/ 621 h 533400"/>
              <a:gd name="connsiteX72" fmla="*/ 362430 w 495300"/>
              <a:gd name="connsiteY72" fmla="*/ 621 h 533400"/>
              <a:gd name="connsiteX73" fmla="*/ 67155 w 495300"/>
              <a:gd name="connsiteY73" fmla="*/ 457821 h 533400"/>
              <a:gd name="connsiteX74" fmla="*/ 29055 w 495300"/>
              <a:gd name="connsiteY74" fmla="*/ 457821 h 533400"/>
              <a:gd name="connsiteX75" fmla="*/ 19530 w 495300"/>
              <a:gd name="connsiteY75" fmla="*/ 467346 h 533400"/>
              <a:gd name="connsiteX76" fmla="*/ 19530 w 495300"/>
              <a:gd name="connsiteY76" fmla="*/ 467346 h 533400"/>
              <a:gd name="connsiteX77" fmla="*/ 19530 w 495300"/>
              <a:gd name="connsiteY77" fmla="*/ 505446 h 533400"/>
              <a:gd name="connsiteX78" fmla="*/ 29055 w 495300"/>
              <a:gd name="connsiteY78" fmla="*/ 514971 h 533400"/>
              <a:gd name="connsiteX79" fmla="*/ 29055 w 495300"/>
              <a:gd name="connsiteY79" fmla="*/ 514971 h 533400"/>
              <a:gd name="connsiteX80" fmla="*/ 67155 w 495300"/>
              <a:gd name="connsiteY80" fmla="*/ 514971 h 533400"/>
              <a:gd name="connsiteX81" fmla="*/ 76680 w 495300"/>
              <a:gd name="connsiteY81" fmla="*/ 505446 h 533400"/>
              <a:gd name="connsiteX82" fmla="*/ 76680 w 495300"/>
              <a:gd name="connsiteY82" fmla="*/ 505446 h 533400"/>
              <a:gd name="connsiteX83" fmla="*/ 76680 w 495300"/>
              <a:gd name="connsiteY83" fmla="*/ 467346 h 533400"/>
              <a:gd name="connsiteX84" fmla="*/ 67155 w 495300"/>
              <a:gd name="connsiteY84" fmla="*/ 457821 h 533400"/>
              <a:gd name="connsiteX85" fmla="*/ 67155 w 495300"/>
              <a:gd name="connsiteY85" fmla="*/ 457821 h 533400"/>
              <a:gd name="connsiteX86" fmla="*/ 267180 w 495300"/>
              <a:gd name="connsiteY86" fmla="*/ 457821 h 533400"/>
              <a:gd name="connsiteX87" fmla="*/ 229080 w 495300"/>
              <a:gd name="connsiteY87" fmla="*/ 457821 h 533400"/>
              <a:gd name="connsiteX88" fmla="*/ 219555 w 495300"/>
              <a:gd name="connsiteY88" fmla="*/ 467346 h 533400"/>
              <a:gd name="connsiteX89" fmla="*/ 219555 w 495300"/>
              <a:gd name="connsiteY89" fmla="*/ 467346 h 533400"/>
              <a:gd name="connsiteX90" fmla="*/ 219555 w 495300"/>
              <a:gd name="connsiteY90" fmla="*/ 505446 h 533400"/>
              <a:gd name="connsiteX91" fmla="*/ 229080 w 495300"/>
              <a:gd name="connsiteY91" fmla="*/ 514971 h 533400"/>
              <a:gd name="connsiteX92" fmla="*/ 229080 w 495300"/>
              <a:gd name="connsiteY92" fmla="*/ 514971 h 533400"/>
              <a:gd name="connsiteX93" fmla="*/ 267180 w 495300"/>
              <a:gd name="connsiteY93" fmla="*/ 514971 h 533400"/>
              <a:gd name="connsiteX94" fmla="*/ 276705 w 495300"/>
              <a:gd name="connsiteY94" fmla="*/ 505446 h 533400"/>
              <a:gd name="connsiteX95" fmla="*/ 276705 w 495300"/>
              <a:gd name="connsiteY95" fmla="*/ 505446 h 533400"/>
              <a:gd name="connsiteX96" fmla="*/ 276705 w 495300"/>
              <a:gd name="connsiteY96" fmla="*/ 467346 h 533400"/>
              <a:gd name="connsiteX97" fmla="*/ 267180 w 495300"/>
              <a:gd name="connsiteY97" fmla="*/ 457821 h 533400"/>
              <a:gd name="connsiteX98" fmla="*/ 267180 w 495300"/>
              <a:gd name="connsiteY98" fmla="*/ 457821 h 533400"/>
              <a:gd name="connsiteX99" fmla="*/ 467205 w 495300"/>
              <a:gd name="connsiteY99" fmla="*/ 457821 h 533400"/>
              <a:gd name="connsiteX100" fmla="*/ 429105 w 495300"/>
              <a:gd name="connsiteY100" fmla="*/ 457821 h 533400"/>
              <a:gd name="connsiteX101" fmla="*/ 419580 w 495300"/>
              <a:gd name="connsiteY101" fmla="*/ 467346 h 533400"/>
              <a:gd name="connsiteX102" fmla="*/ 419580 w 495300"/>
              <a:gd name="connsiteY102" fmla="*/ 467346 h 533400"/>
              <a:gd name="connsiteX103" fmla="*/ 419580 w 495300"/>
              <a:gd name="connsiteY103" fmla="*/ 505446 h 533400"/>
              <a:gd name="connsiteX104" fmla="*/ 429105 w 495300"/>
              <a:gd name="connsiteY104" fmla="*/ 514971 h 533400"/>
              <a:gd name="connsiteX105" fmla="*/ 429105 w 495300"/>
              <a:gd name="connsiteY105" fmla="*/ 514971 h 533400"/>
              <a:gd name="connsiteX106" fmla="*/ 467205 w 495300"/>
              <a:gd name="connsiteY106" fmla="*/ 514971 h 533400"/>
              <a:gd name="connsiteX107" fmla="*/ 476730 w 495300"/>
              <a:gd name="connsiteY107" fmla="*/ 505446 h 533400"/>
              <a:gd name="connsiteX108" fmla="*/ 476730 w 495300"/>
              <a:gd name="connsiteY108" fmla="*/ 505446 h 533400"/>
              <a:gd name="connsiteX109" fmla="*/ 476730 w 495300"/>
              <a:gd name="connsiteY109" fmla="*/ 467346 h 533400"/>
              <a:gd name="connsiteX110" fmla="*/ 467205 w 495300"/>
              <a:gd name="connsiteY110" fmla="*/ 457821 h 533400"/>
              <a:gd name="connsiteX111" fmla="*/ 467205 w 495300"/>
              <a:gd name="connsiteY111" fmla="*/ 457821 h 533400"/>
              <a:gd name="connsiteX112" fmla="*/ 362430 w 495300"/>
              <a:gd name="connsiteY112" fmla="*/ 19671 h 533400"/>
              <a:gd name="connsiteX113" fmla="*/ 133830 w 495300"/>
              <a:gd name="connsiteY113" fmla="*/ 19671 h 533400"/>
              <a:gd name="connsiteX114" fmla="*/ 114780 w 495300"/>
              <a:gd name="connsiteY114" fmla="*/ 38721 h 533400"/>
              <a:gd name="connsiteX115" fmla="*/ 114780 w 495300"/>
              <a:gd name="connsiteY115" fmla="*/ 38721 h 533400"/>
              <a:gd name="connsiteX116" fmla="*/ 114780 w 495300"/>
              <a:gd name="connsiteY116" fmla="*/ 124446 h 533400"/>
              <a:gd name="connsiteX117" fmla="*/ 133830 w 495300"/>
              <a:gd name="connsiteY117" fmla="*/ 143496 h 533400"/>
              <a:gd name="connsiteX118" fmla="*/ 133830 w 495300"/>
              <a:gd name="connsiteY118" fmla="*/ 143496 h 533400"/>
              <a:gd name="connsiteX119" fmla="*/ 362430 w 495300"/>
              <a:gd name="connsiteY119" fmla="*/ 143496 h 533400"/>
              <a:gd name="connsiteX120" fmla="*/ 381480 w 495300"/>
              <a:gd name="connsiteY120" fmla="*/ 124446 h 533400"/>
              <a:gd name="connsiteX121" fmla="*/ 381480 w 495300"/>
              <a:gd name="connsiteY121" fmla="*/ 124446 h 533400"/>
              <a:gd name="connsiteX122" fmla="*/ 381480 w 495300"/>
              <a:gd name="connsiteY122" fmla="*/ 38721 h 533400"/>
              <a:gd name="connsiteX123" fmla="*/ 362430 w 495300"/>
              <a:gd name="connsiteY123" fmla="*/ 19671 h 533400"/>
              <a:gd name="connsiteX124" fmla="*/ 362430 w 495300"/>
              <a:gd name="connsiteY124" fmla="*/ 19671 h 533400"/>
              <a:gd name="connsiteX125" fmla="*/ 157643 w 495300"/>
              <a:gd name="connsiteY125" fmla="*/ 86346 h 533400"/>
              <a:gd name="connsiteX126" fmla="*/ 171930 w 495300"/>
              <a:gd name="connsiteY126" fmla="*/ 100634 h 533400"/>
              <a:gd name="connsiteX127" fmla="*/ 157643 w 495300"/>
              <a:gd name="connsiteY127" fmla="*/ 114921 h 533400"/>
              <a:gd name="connsiteX128" fmla="*/ 143355 w 495300"/>
              <a:gd name="connsiteY128" fmla="*/ 100634 h 533400"/>
              <a:gd name="connsiteX129" fmla="*/ 157643 w 495300"/>
              <a:gd name="connsiteY129" fmla="*/ 86346 h 53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495300" h="533400">
                <a:moveTo>
                  <a:pt x="362430" y="621"/>
                </a:moveTo>
                <a:cubicBezTo>
                  <a:pt x="383385" y="621"/>
                  <a:pt x="400530" y="17766"/>
                  <a:pt x="400530" y="38721"/>
                </a:cubicBezTo>
                <a:lnTo>
                  <a:pt x="400530" y="38721"/>
                </a:lnTo>
                <a:lnTo>
                  <a:pt x="400530" y="124446"/>
                </a:lnTo>
                <a:cubicBezTo>
                  <a:pt x="400530" y="145401"/>
                  <a:pt x="383385" y="162546"/>
                  <a:pt x="362430" y="162546"/>
                </a:cubicBezTo>
                <a:lnTo>
                  <a:pt x="362430" y="162546"/>
                </a:lnTo>
                <a:lnTo>
                  <a:pt x="257655" y="162546"/>
                </a:lnTo>
                <a:lnTo>
                  <a:pt x="257655" y="295896"/>
                </a:lnTo>
                <a:lnTo>
                  <a:pt x="419580" y="295896"/>
                </a:lnTo>
                <a:cubicBezTo>
                  <a:pt x="439583" y="295896"/>
                  <a:pt x="456727" y="312089"/>
                  <a:pt x="457680" y="332091"/>
                </a:cubicBezTo>
                <a:lnTo>
                  <a:pt x="457680" y="333996"/>
                </a:lnTo>
                <a:lnTo>
                  <a:pt x="457680" y="438771"/>
                </a:lnTo>
                <a:lnTo>
                  <a:pt x="467205" y="438771"/>
                </a:lnTo>
                <a:cubicBezTo>
                  <a:pt x="482445" y="438771"/>
                  <a:pt x="494827" y="450201"/>
                  <a:pt x="495780" y="465441"/>
                </a:cubicBezTo>
                <a:lnTo>
                  <a:pt x="495780" y="467346"/>
                </a:lnTo>
                <a:lnTo>
                  <a:pt x="495780" y="505446"/>
                </a:lnTo>
                <a:cubicBezTo>
                  <a:pt x="495780" y="521639"/>
                  <a:pt x="483398" y="534021"/>
                  <a:pt x="467205" y="534021"/>
                </a:cubicBezTo>
                <a:lnTo>
                  <a:pt x="467205" y="534021"/>
                </a:lnTo>
                <a:lnTo>
                  <a:pt x="429105" y="534021"/>
                </a:lnTo>
                <a:cubicBezTo>
                  <a:pt x="412912" y="534021"/>
                  <a:pt x="400530" y="521639"/>
                  <a:pt x="400530" y="505446"/>
                </a:cubicBezTo>
                <a:lnTo>
                  <a:pt x="400530" y="505446"/>
                </a:lnTo>
                <a:lnTo>
                  <a:pt x="400530" y="467346"/>
                </a:lnTo>
                <a:cubicBezTo>
                  <a:pt x="400530" y="451153"/>
                  <a:pt x="412912" y="438771"/>
                  <a:pt x="429105" y="438771"/>
                </a:cubicBezTo>
                <a:lnTo>
                  <a:pt x="429105" y="438771"/>
                </a:lnTo>
                <a:lnTo>
                  <a:pt x="438630" y="438771"/>
                </a:lnTo>
                <a:lnTo>
                  <a:pt x="438630" y="333996"/>
                </a:lnTo>
                <a:cubicBezTo>
                  <a:pt x="438630" y="323519"/>
                  <a:pt x="431010" y="315898"/>
                  <a:pt x="420533" y="314946"/>
                </a:cubicBezTo>
                <a:lnTo>
                  <a:pt x="419580" y="314946"/>
                </a:lnTo>
                <a:lnTo>
                  <a:pt x="257655" y="314946"/>
                </a:lnTo>
                <a:lnTo>
                  <a:pt x="257655" y="438771"/>
                </a:lnTo>
                <a:lnTo>
                  <a:pt x="267180" y="438771"/>
                </a:lnTo>
                <a:cubicBezTo>
                  <a:pt x="282420" y="438771"/>
                  <a:pt x="294802" y="450201"/>
                  <a:pt x="295755" y="465441"/>
                </a:cubicBezTo>
                <a:lnTo>
                  <a:pt x="295755" y="467346"/>
                </a:lnTo>
                <a:lnTo>
                  <a:pt x="295755" y="505446"/>
                </a:lnTo>
                <a:cubicBezTo>
                  <a:pt x="295755" y="521639"/>
                  <a:pt x="283373" y="534021"/>
                  <a:pt x="267180" y="534021"/>
                </a:cubicBezTo>
                <a:lnTo>
                  <a:pt x="267180" y="534021"/>
                </a:lnTo>
                <a:lnTo>
                  <a:pt x="229080" y="534021"/>
                </a:lnTo>
                <a:cubicBezTo>
                  <a:pt x="212887" y="534021"/>
                  <a:pt x="200505" y="521639"/>
                  <a:pt x="200505" y="505446"/>
                </a:cubicBezTo>
                <a:lnTo>
                  <a:pt x="200505" y="505446"/>
                </a:lnTo>
                <a:lnTo>
                  <a:pt x="200505" y="467346"/>
                </a:lnTo>
                <a:cubicBezTo>
                  <a:pt x="200505" y="451153"/>
                  <a:pt x="212887" y="438771"/>
                  <a:pt x="229080" y="438771"/>
                </a:cubicBezTo>
                <a:lnTo>
                  <a:pt x="229080" y="438771"/>
                </a:lnTo>
                <a:lnTo>
                  <a:pt x="238605" y="438771"/>
                </a:lnTo>
                <a:lnTo>
                  <a:pt x="238605" y="314946"/>
                </a:lnTo>
                <a:lnTo>
                  <a:pt x="76680" y="314946"/>
                </a:lnTo>
                <a:cubicBezTo>
                  <a:pt x="66202" y="314946"/>
                  <a:pt x="58583" y="322566"/>
                  <a:pt x="57630" y="333044"/>
                </a:cubicBezTo>
                <a:lnTo>
                  <a:pt x="57630" y="333996"/>
                </a:lnTo>
                <a:lnTo>
                  <a:pt x="57630" y="438771"/>
                </a:lnTo>
                <a:lnTo>
                  <a:pt x="67155" y="438771"/>
                </a:lnTo>
                <a:cubicBezTo>
                  <a:pt x="82395" y="438771"/>
                  <a:pt x="94777" y="450201"/>
                  <a:pt x="95730" y="465441"/>
                </a:cubicBezTo>
                <a:lnTo>
                  <a:pt x="95730" y="467346"/>
                </a:lnTo>
                <a:lnTo>
                  <a:pt x="95730" y="505446"/>
                </a:lnTo>
                <a:cubicBezTo>
                  <a:pt x="95730" y="521639"/>
                  <a:pt x="83348" y="534021"/>
                  <a:pt x="67155" y="534021"/>
                </a:cubicBezTo>
                <a:lnTo>
                  <a:pt x="67155" y="534021"/>
                </a:lnTo>
                <a:lnTo>
                  <a:pt x="29055" y="534021"/>
                </a:lnTo>
                <a:cubicBezTo>
                  <a:pt x="12862" y="534021"/>
                  <a:pt x="480" y="521639"/>
                  <a:pt x="480" y="505446"/>
                </a:cubicBezTo>
                <a:lnTo>
                  <a:pt x="480" y="505446"/>
                </a:lnTo>
                <a:lnTo>
                  <a:pt x="480" y="467346"/>
                </a:lnTo>
                <a:cubicBezTo>
                  <a:pt x="480" y="451153"/>
                  <a:pt x="12862" y="438771"/>
                  <a:pt x="29055" y="438771"/>
                </a:cubicBezTo>
                <a:lnTo>
                  <a:pt x="29055" y="438771"/>
                </a:lnTo>
                <a:lnTo>
                  <a:pt x="38580" y="438771"/>
                </a:lnTo>
                <a:lnTo>
                  <a:pt x="38580" y="333996"/>
                </a:lnTo>
                <a:cubicBezTo>
                  <a:pt x="38580" y="313994"/>
                  <a:pt x="54773" y="296848"/>
                  <a:pt x="74775" y="295896"/>
                </a:cubicBezTo>
                <a:lnTo>
                  <a:pt x="76680" y="295896"/>
                </a:lnTo>
                <a:lnTo>
                  <a:pt x="238605" y="295896"/>
                </a:lnTo>
                <a:lnTo>
                  <a:pt x="238605" y="162546"/>
                </a:lnTo>
                <a:lnTo>
                  <a:pt x="133830" y="162546"/>
                </a:lnTo>
                <a:cubicBezTo>
                  <a:pt x="113827" y="162546"/>
                  <a:pt x="96683" y="146353"/>
                  <a:pt x="95730" y="126351"/>
                </a:cubicBezTo>
                <a:lnTo>
                  <a:pt x="95730" y="124446"/>
                </a:lnTo>
                <a:lnTo>
                  <a:pt x="95730" y="38721"/>
                </a:lnTo>
                <a:cubicBezTo>
                  <a:pt x="95730" y="17766"/>
                  <a:pt x="112875" y="621"/>
                  <a:pt x="133830" y="621"/>
                </a:cubicBezTo>
                <a:lnTo>
                  <a:pt x="133830" y="621"/>
                </a:lnTo>
                <a:lnTo>
                  <a:pt x="362430" y="621"/>
                </a:lnTo>
                <a:close/>
                <a:moveTo>
                  <a:pt x="67155" y="457821"/>
                </a:moveTo>
                <a:lnTo>
                  <a:pt x="29055" y="457821"/>
                </a:lnTo>
                <a:cubicBezTo>
                  <a:pt x="23340" y="457821"/>
                  <a:pt x="19530" y="461631"/>
                  <a:pt x="19530" y="467346"/>
                </a:cubicBezTo>
                <a:lnTo>
                  <a:pt x="19530" y="467346"/>
                </a:lnTo>
                <a:lnTo>
                  <a:pt x="19530" y="505446"/>
                </a:lnTo>
                <a:cubicBezTo>
                  <a:pt x="19530" y="511161"/>
                  <a:pt x="23340" y="514971"/>
                  <a:pt x="29055" y="514971"/>
                </a:cubicBezTo>
                <a:lnTo>
                  <a:pt x="29055" y="514971"/>
                </a:lnTo>
                <a:lnTo>
                  <a:pt x="67155" y="514971"/>
                </a:lnTo>
                <a:cubicBezTo>
                  <a:pt x="72870" y="514971"/>
                  <a:pt x="76680" y="511161"/>
                  <a:pt x="76680" y="505446"/>
                </a:cubicBezTo>
                <a:lnTo>
                  <a:pt x="76680" y="505446"/>
                </a:lnTo>
                <a:lnTo>
                  <a:pt x="76680" y="467346"/>
                </a:lnTo>
                <a:cubicBezTo>
                  <a:pt x="76680" y="461631"/>
                  <a:pt x="72870" y="457821"/>
                  <a:pt x="67155" y="457821"/>
                </a:cubicBezTo>
                <a:lnTo>
                  <a:pt x="67155" y="457821"/>
                </a:lnTo>
                <a:close/>
                <a:moveTo>
                  <a:pt x="267180" y="457821"/>
                </a:moveTo>
                <a:lnTo>
                  <a:pt x="229080" y="457821"/>
                </a:lnTo>
                <a:cubicBezTo>
                  <a:pt x="223365" y="457821"/>
                  <a:pt x="219555" y="461631"/>
                  <a:pt x="219555" y="467346"/>
                </a:cubicBezTo>
                <a:lnTo>
                  <a:pt x="219555" y="467346"/>
                </a:lnTo>
                <a:lnTo>
                  <a:pt x="219555" y="505446"/>
                </a:lnTo>
                <a:cubicBezTo>
                  <a:pt x="219555" y="511161"/>
                  <a:pt x="223365" y="514971"/>
                  <a:pt x="229080" y="514971"/>
                </a:cubicBezTo>
                <a:lnTo>
                  <a:pt x="229080" y="514971"/>
                </a:lnTo>
                <a:lnTo>
                  <a:pt x="267180" y="514971"/>
                </a:lnTo>
                <a:cubicBezTo>
                  <a:pt x="272895" y="514971"/>
                  <a:pt x="276705" y="511161"/>
                  <a:pt x="276705" y="505446"/>
                </a:cubicBezTo>
                <a:lnTo>
                  <a:pt x="276705" y="505446"/>
                </a:lnTo>
                <a:lnTo>
                  <a:pt x="276705" y="467346"/>
                </a:lnTo>
                <a:cubicBezTo>
                  <a:pt x="276705" y="461631"/>
                  <a:pt x="272895" y="457821"/>
                  <a:pt x="267180" y="457821"/>
                </a:cubicBezTo>
                <a:lnTo>
                  <a:pt x="267180" y="457821"/>
                </a:lnTo>
                <a:close/>
                <a:moveTo>
                  <a:pt x="467205" y="457821"/>
                </a:moveTo>
                <a:lnTo>
                  <a:pt x="429105" y="457821"/>
                </a:lnTo>
                <a:cubicBezTo>
                  <a:pt x="423390" y="457821"/>
                  <a:pt x="419580" y="461631"/>
                  <a:pt x="419580" y="467346"/>
                </a:cubicBezTo>
                <a:lnTo>
                  <a:pt x="419580" y="467346"/>
                </a:lnTo>
                <a:lnTo>
                  <a:pt x="419580" y="505446"/>
                </a:lnTo>
                <a:cubicBezTo>
                  <a:pt x="419580" y="511161"/>
                  <a:pt x="423390" y="514971"/>
                  <a:pt x="429105" y="514971"/>
                </a:cubicBezTo>
                <a:lnTo>
                  <a:pt x="429105" y="514971"/>
                </a:lnTo>
                <a:lnTo>
                  <a:pt x="467205" y="514971"/>
                </a:lnTo>
                <a:cubicBezTo>
                  <a:pt x="472920" y="514971"/>
                  <a:pt x="476730" y="511161"/>
                  <a:pt x="476730" y="505446"/>
                </a:cubicBezTo>
                <a:lnTo>
                  <a:pt x="476730" y="505446"/>
                </a:lnTo>
                <a:lnTo>
                  <a:pt x="476730" y="467346"/>
                </a:lnTo>
                <a:cubicBezTo>
                  <a:pt x="476730" y="461631"/>
                  <a:pt x="472920" y="457821"/>
                  <a:pt x="467205" y="457821"/>
                </a:cubicBezTo>
                <a:lnTo>
                  <a:pt x="467205" y="457821"/>
                </a:lnTo>
                <a:close/>
                <a:moveTo>
                  <a:pt x="362430" y="19671"/>
                </a:moveTo>
                <a:lnTo>
                  <a:pt x="133830" y="19671"/>
                </a:lnTo>
                <a:cubicBezTo>
                  <a:pt x="123352" y="19671"/>
                  <a:pt x="114780" y="28244"/>
                  <a:pt x="114780" y="38721"/>
                </a:cubicBezTo>
                <a:lnTo>
                  <a:pt x="114780" y="38721"/>
                </a:lnTo>
                <a:lnTo>
                  <a:pt x="114780" y="124446"/>
                </a:lnTo>
                <a:cubicBezTo>
                  <a:pt x="114780" y="134923"/>
                  <a:pt x="123352" y="143496"/>
                  <a:pt x="133830" y="143496"/>
                </a:cubicBezTo>
                <a:lnTo>
                  <a:pt x="133830" y="143496"/>
                </a:lnTo>
                <a:lnTo>
                  <a:pt x="362430" y="143496"/>
                </a:lnTo>
                <a:cubicBezTo>
                  <a:pt x="372908" y="143496"/>
                  <a:pt x="381480" y="134923"/>
                  <a:pt x="381480" y="124446"/>
                </a:cubicBezTo>
                <a:lnTo>
                  <a:pt x="381480" y="124446"/>
                </a:lnTo>
                <a:lnTo>
                  <a:pt x="381480" y="38721"/>
                </a:lnTo>
                <a:cubicBezTo>
                  <a:pt x="381480" y="28244"/>
                  <a:pt x="372908" y="19671"/>
                  <a:pt x="362430" y="19671"/>
                </a:cubicBezTo>
                <a:lnTo>
                  <a:pt x="362430" y="19671"/>
                </a:lnTo>
                <a:close/>
                <a:moveTo>
                  <a:pt x="157643" y="86346"/>
                </a:moveTo>
                <a:cubicBezTo>
                  <a:pt x="165262" y="86346"/>
                  <a:pt x="171930" y="93014"/>
                  <a:pt x="171930" y="100634"/>
                </a:cubicBezTo>
                <a:cubicBezTo>
                  <a:pt x="171930" y="108253"/>
                  <a:pt x="165262" y="114921"/>
                  <a:pt x="157643" y="114921"/>
                </a:cubicBezTo>
                <a:cubicBezTo>
                  <a:pt x="150023" y="114921"/>
                  <a:pt x="143355" y="108253"/>
                  <a:pt x="143355" y="100634"/>
                </a:cubicBezTo>
                <a:cubicBezTo>
                  <a:pt x="143355" y="93014"/>
                  <a:pt x="150023" y="86346"/>
                  <a:pt x="157643" y="8634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51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1293862E-6CC3-472E-A1BC-5D7383FB07E2}"/>
              </a:ext>
            </a:extLst>
          </p:cNvPr>
          <p:cNvSpPr txBox="1"/>
          <p:nvPr/>
        </p:nvSpPr>
        <p:spPr>
          <a:xfrm>
            <a:off x="961672" y="3235845"/>
            <a:ext cx="1757097" cy="14542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05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 sound</a:t>
            </a:r>
          </a:p>
        </p:txBody>
      </p:sp>
      <p:grpSp>
        <p:nvGrpSpPr>
          <p:cNvPr id="52" name="Group 184">
            <a:extLst>
              <a:ext uri="{FF2B5EF4-FFF2-40B4-BE49-F238E27FC236}">
                <a16:creationId xmlns:a16="http://schemas.microsoft.com/office/drawing/2014/main" id="{391390C2-111B-4FE2-932A-29B86CE415CF}"/>
              </a:ext>
            </a:extLst>
          </p:cNvPr>
          <p:cNvGrpSpPr/>
          <p:nvPr/>
        </p:nvGrpSpPr>
        <p:grpSpPr>
          <a:xfrm>
            <a:off x="2040975" y="1173850"/>
            <a:ext cx="1165214" cy="931489"/>
            <a:chOff x="10053740" y="592613"/>
            <a:chExt cx="1072349" cy="857252"/>
          </a:xfrm>
          <a:solidFill>
            <a:srgbClr val="FAD34D"/>
          </a:solidFill>
        </p:grpSpPr>
        <p:sp>
          <p:nvSpPr>
            <p:cNvPr id="53" name="Freeform: Shape 182">
              <a:extLst>
                <a:ext uri="{FF2B5EF4-FFF2-40B4-BE49-F238E27FC236}">
                  <a16:creationId xmlns:a16="http://schemas.microsoft.com/office/drawing/2014/main" id="{5D480F22-2EBA-4623-9507-342271A2DD0E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-4572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4" name="Freeform: Shape 183">
              <a:extLst>
                <a:ext uri="{FF2B5EF4-FFF2-40B4-BE49-F238E27FC236}">
                  <a16:creationId xmlns:a16="http://schemas.microsoft.com/office/drawing/2014/main" id="{B66A0D01-5646-4EC7-8D58-846361EA1B7E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-4572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55" name="组合 54">
            <a:extLst>
              <a:ext uri="{FF2B5EF4-FFF2-40B4-BE49-F238E27FC236}">
                <a16:creationId xmlns:a16="http://schemas.microsoft.com/office/drawing/2014/main" id="{AC8147A5-AC93-46BE-B3E7-E1DAA5123398}"/>
              </a:ext>
            </a:extLst>
          </p:cNvPr>
          <p:cNvGrpSpPr/>
          <p:nvPr/>
        </p:nvGrpSpPr>
        <p:grpSpPr>
          <a:xfrm>
            <a:off x="541064" y="382712"/>
            <a:ext cx="2582174" cy="500937"/>
            <a:chOff x="423052" y="305730"/>
            <a:chExt cx="2582174" cy="500937"/>
          </a:xfrm>
          <a:gradFill>
            <a:gsLst>
              <a:gs pos="0">
                <a:srgbClr val="1669E0"/>
              </a:gs>
              <a:gs pos="100000">
                <a:srgbClr val="37A6FF"/>
              </a:gs>
            </a:gsLst>
            <a:lin ang="5400012" scaled="0"/>
          </a:gradFill>
        </p:grpSpPr>
        <p:sp>
          <p:nvSpPr>
            <p:cNvPr id="56" name="Rectangle: Rounded Corners 34">
              <a:extLst>
                <a:ext uri="{FF2B5EF4-FFF2-40B4-BE49-F238E27FC236}">
                  <a16:creationId xmlns:a16="http://schemas.microsoft.com/office/drawing/2014/main" id="{BEBDE971-2A0E-4796-B44B-8A6FB4FF0F5F}"/>
                </a:ext>
              </a:extLst>
            </p:cNvPr>
            <p:cNvSpPr/>
            <p:nvPr/>
          </p:nvSpPr>
          <p:spPr>
            <a:xfrm>
              <a:off x="815816" y="305730"/>
              <a:ext cx="1830269" cy="50093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r>
                <a:rPr lang="en-US">
                  <a:solidFill>
                    <a:prstClr val="white"/>
                  </a:solidFill>
                  <a:cs typeface="+mn-ea"/>
                  <a:sym typeface="+mn-lt"/>
                </a:rPr>
                <a:t> </a:t>
              </a:r>
              <a:endParaRPr lang="en-US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57" name="iṩļïḓè">
              <a:extLst>
                <a:ext uri="{FF2B5EF4-FFF2-40B4-BE49-F238E27FC236}">
                  <a16:creationId xmlns:a16="http://schemas.microsoft.com/office/drawing/2014/main" id="{6EBB925A-CD6F-4D2A-80C1-A8C0F27210C9}"/>
                </a:ext>
              </a:extLst>
            </p:cNvPr>
            <p:cNvSpPr txBox="1"/>
            <p:nvPr/>
          </p:nvSpPr>
          <p:spPr bwMode="auto">
            <a:xfrm>
              <a:off x="943549" y="407694"/>
              <a:ext cx="1534794" cy="33865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solidFill>
                    <a:prstClr val="white"/>
                  </a:solidFill>
                  <a:latin typeface="Calibri" panose="020F05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dist" defTabSz="914400"/>
              <a:r>
                <a:rPr lang="en-US" altLang="zh-CN" sz="1400" dirty="0">
                  <a:solidFill>
                    <a:srgbClr val="0F65B4"/>
                  </a:solidFill>
                  <a:cs typeface="+mn-ea"/>
                  <a:sym typeface="+mn-lt"/>
                </a:rPr>
                <a:t>Jpppt.com</a:t>
              </a:r>
            </a:p>
          </p:txBody>
        </p:sp>
        <p:sp>
          <p:nvSpPr>
            <p:cNvPr id="58" name="椭圆 57">
              <a:extLst>
                <a:ext uri="{FF2B5EF4-FFF2-40B4-BE49-F238E27FC236}">
                  <a16:creationId xmlns:a16="http://schemas.microsoft.com/office/drawing/2014/main" id="{F9C6EE0B-A3D9-4E0A-8ED2-25DE141D1551}"/>
                </a:ext>
              </a:extLst>
            </p:cNvPr>
            <p:cNvSpPr/>
            <p:nvPr/>
          </p:nvSpPr>
          <p:spPr>
            <a:xfrm>
              <a:off x="423052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59" name="椭圆 58">
              <a:extLst>
                <a:ext uri="{FF2B5EF4-FFF2-40B4-BE49-F238E27FC236}">
                  <a16:creationId xmlns:a16="http://schemas.microsoft.com/office/drawing/2014/main" id="{A1F259D3-6C8A-46A3-96D3-509ED52FF914}"/>
                </a:ext>
              </a:extLst>
            </p:cNvPr>
            <p:cNvSpPr/>
            <p:nvPr/>
          </p:nvSpPr>
          <p:spPr>
            <a:xfrm>
              <a:off x="2800384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7366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  <p:bldP spid="43" grpId="0" animBg="1"/>
      <p:bldP spid="44" grpId="0" animBg="1"/>
      <p:bldP spid="45" grpId="0" animBg="1"/>
      <p:bldP spid="5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C4335FAC-FD00-40C5-A6D8-206FEC2616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534ABA11-9DA7-4A30-B756-B4CDCA30681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4291" y="821802"/>
            <a:ext cx="5932025" cy="5932025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E20E13C6-DA20-4F75-87DC-6765B3CBCC1B}"/>
              </a:ext>
            </a:extLst>
          </p:cNvPr>
          <p:cNvSpPr txBox="1"/>
          <p:nvPr/>
        </p:nvSpPr>
        <p:spPr>
          <a:xfrm>
            <a:off x="1214548" y="3500829"/>
            <a:ext cx="39940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5400" b="1" dirty="0">
                <a:solidFill>
                  <a:srgbClr val="0D3787"/>
                </a:solidFill>
                <a:cs typeface="+mn-ea"/>
                <a:sym typeface="+mn-lt"/>
              </a:rPr>
              <a:t>PART TWO</a:t>
            </a:r>
            <a:endParaRPr lang="zh-CN" altLang="en-US" sz="5400" b="1" dirty="0"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C7176937-2DCB-42A7-B005-E35BE77C9737}"/>
              </a:ext>
            </a:extLst>
          </p:cNvPr>
          <p:cNvSpPr txBox="1"/>
          <p:nvPr/>
        </p:nvSpPr>
        <p:spPr>
          <a:xfrm>
            <a:off x="1499049" y="4564873"/>
            <a:ext cx="2295615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rgbClr val="6C79BA"/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rgbClr val="6C79BA"/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rgbClr val="6C79BA"/>
                </a:solidFill>
                <a:cs typeface="+mn-ea"/>
                <a:sym typeface="+mn-lt"/>
              </a:rPr>
              <a:t> Synergistically utilize technically sound</a:t>
            </a:r>
          </a:p>
        </p:txBody>
      </p:sp>
      <p:sp>
        <p:nvSpPr>
          <p:cNvPr id="10" name="îṧ1ïḋé">
            <a:extLst>
              <a:ext uri="{FF2B5EF4-FFF2-40B4-BE49-F238E27FC236}">
                <a16:creationId xmlns:a16="http://schemas.microsoft.com/office/drawing/2014/main" id="{B5AA5A13-C86E-4C8D-892A-E7CB32ABCC28}"/>
              </a:ext>
            </a:extLst>
          </p:cNvPr>
          <p:cNvSpPr/>
          <p:nvPr/>
        </p:nvSpPr>
        <p:spPr>
          <a:xfrm>
            <a:off x="6290047" y="1778603"/>
            <a:ext cx="2001014" cy="3693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dist" defTabSz="914400"/>
            <a:r>
              <a:rPr lang="en-US" altLang="zh-CN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11" name="îṧ1ïḋé">
            <a:extLst>
              <a:ext uri="{FF2B5EF4-FFF2-40B4-BE49-F238E27FC236}">
                <a16:creationId xmlns:a16="http://schemas.microsoft.com/office/drawing/2014/main" id="{E2B097BA-B194-42C3-945F-386A7AFB144D}"/>
              </a:ext>
            </a:extLst>
          </p:cNvPr>
          <p:cNvSpPr/>
          <p:nvPr/>
        </p:nvSpPr>
        <p:spPr>
          <a:xfrm>
            <a:off x="669362" y="5894083"/>
            <a:ext cx="1402506" cy="369332"/>
          </a:xfrm>
          <a:prstGeom prst="roundRect">
            <a:avLst>
              <a:gd name="adj" fmla="val 50000"/>
            </a:avLst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dist" defTabSz="914400"/>
            <a:r>
              <a:rPr lang="en-US" altLang="zh-CN" sz="1050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17" name="Google Shape;537;p25">
            <a:extLst>
              <a:ext uri="{FF2B5EF4-FFF2-40B4-BE49-F238E27FC236}">
                <a16:creationId xmlns:a16="http://schemas.microsoft.com/office/drawing/2014/main" id="{1B5B09E6-268C-4B46-B540-347AB4A2DA78}"/>
              </a:ext>
            </a:extLst>
          </p:cNvPr>
          <p:cNvSpPr/>
          <p:nvPr/>
        </p:nvSpPr>
        <p:spPr>
          <a:xfrm rot="9266724">
            <a:off x="1040517" y="3729707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18" name="Google Shape;537;p25">
            <a:extLst>
              <a:ext uri="{FF2B5EF4-FFF2-40B4-BE49-F238E27FC236}">
                <a16:creationId xmlns:a16="http://schemas.microsoft.com/office/drawing/2014/main" id="{64B96D6A-0797-43A8-8899-A198C70273FF}"/>
              </a:ext>
            </a:extLst>
          </p:cNvPr>
          <p:cNvSpPr/>
          <p:nvPr/>
        </p:nvSpPr>
        <p:spPr>
          <a:xfrm rot="9266724">
            <a:off x="1040518" y="4129346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sp>
        <p:nvSpPr>
          <p:cNvPr id="19" name="Google Shape;537;p25">
            <a:extLst>
              <a:ext uri="{FF2B5EF4-FFF2-40B4-BE49-F238E27FC236}">
                <a16:creationId xmlns:a16="http://schemas.microsoft.com/office/drawing/2014/main" id="{ED1E0558-0E69-4E53-AA22-626E687EFDF4}"/>
              </a:ext>
            </a:extLst>
          </p:cNvPr>
          <p:cNvSpPr/>
          <p:nvPr/>
        </p:nvSpPr>
        <p:spPr>
          <a:xfrm rot="9266724">
            <a:off x="1035455" y="4497491"/>
            <a:ext cx="153494" cy="153494"/>
          </a:xfrm>
          <a:prstGeom prst="ellipse">
            <a:avLst/>
          </a:prstGeom>
          <a:solidFill>
            <a:srgbClr val="F7B44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cs typeface="+mn-ea"/>
              <a:sym typeface="+mn-lt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1E3B8DD1-2F92-4F83-8407-FDB8D761047C}"/>
              </a:ext>
            </a:extLst>
          </p:cNvPr>
          <p:cNvGrpSpPr/>
          <p:nvPr/>
        </p:nvGrpSpPr>
        <p:grpSpPr>
          <a:xfrm rot="5400000">
            <a:off x="2021183" y="1062538"/>
            <a:ext cx="101370" cy="1330760"/>
            <a:chOff x="508216" y="2820579"/>
            <a:chExt cx="196770" cy="2583143"/>
          </a:xfrm>
          <a:solidFill>
            <a:srgbClr val="6C79BA"/>
          </a:solidFill>
        </p:grpSpPr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6DBCC032-C228-4F00-8BC9-6ABB576FCEF8}"/>
                </a:ext>
              </a:extLst>
            </p:cNvPr>
            <p:cNvSpPr/>
            <p:nvPr/>
          </p:nvSpPr>
          <p:spPr>
            <a:xfrm>
              <a:off x="508217" y="2820579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22" name="直接连接符 21">
              <a:extLst>
                <a:ext uri="{FF2B5EF4-FFF2-40B4-BE49-F238E27FC236}">
                  <a16:creationId xmlns:a16="http://schemas.microsoft.com/office/drawing/2014/main" id="{E4D16014-6217-45B2-BCF4-4920A867A4E0}"/>
                </a:ext>
              </a:extLst>
            </p:cNvPr>
            <p:cNvCxnSpPr/>
            <p:nvPr/>
          </p:nvCxnSpPr>
          <p:spPr>
            <a:xfrm>
              <a:off x="606601" y="3222594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C1AF9D28-6155-4F6A-B7ED-1E6CEAA00082}"/>
                </a:ext>
              </a:extLst>
            </p:cNvPr>
            <p:cNvSpPr/>
            <p:nvPr/>
          </p:nvSpPr>
          <p:spPr>
            <a:xfrm>
              <a:off x="508216" y="4013766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cxnSp>
          <p:nvCxnSpPr>
            <p:cNvPr id="24" name="直接连接符 23">
              <a:extLst>
                <a:ext uri="{FF2B5EF4-FFF2-40B4-BE49-F238E27FC236}">
                  <a16:creationId xmlns:a16="http://schemas.microsoft.com/office/drawing/2014/main" id="{E8474D1B-8FBF-46CF-A281-929109FC8004}"/>
                </a:ext>
              </a:extLst>
            </p:cNvPr>
            <p:cNvCxnSpPr/>
            <p:nvPr/>
          </p:nvCxnSpPr>
          <p:spPr>
            <a:xfrm>
              <a:off x="606600" y="4415781"/>
              <a:ext cx="0" cy="585926"/>
            </a:xfrm>
            <a:prstGeom prst="lin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椭圆 24">
              <a:extLst>
                <a:ext uri="{FF2B5EF4-FFF2-40B4-BE49-F238E27FC236}">
                  <a16:creationId xmlns:a16="http://schemas.microsoft.com/office/drawing/2014/main" id="{26D179B6-2BD4-4139-BD98-D13AAE8269DB}"/>
                </a:ext>
              </a:extLst>
            </p:cNvPr>
            <p:cNvSpPr/>
            <p:nvPr/>
          </p:nvSpPr>
          <p:spPr>
            <a:xfrm>
              <a:off x="508216" y="5206953"/>
              <a:ext cx="196769" cy="196769"/>
            </a:xfrm>
            <a:prstGeom prst="ellipse">
              <a:avLst/>
            </a:prstGeom>
            <a:grpFill/>
            <a:ln>
              <a:solidFill>
                <a:srgbClr val="6C79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2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D572736F-DD32-4722-A86F-D5529A5B60F6}"/>
              </a:ext>
            </a:extLst>
          </p:cNvPr>
          <p:cNvSpPr txBox="1"/>
          <p:nvPr/>
        </p:nvSpPr>
        <p:spPr>
          <a:xfrm>
            <a:off x="1417897" y="1049503"/>
            <a:ext cx="1307939" cy="3991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600" kern="0" dirty="0">
                <a:solidFill>
                  <a:srgbClr val="6C79BA"/>
                </a:solidFill>
                <a:cs typeface="+mn-ea"/>
                <a:sym typeface="+mn-lt"/>
              </a:rPr>
              <a:t>Synergistically utilize technically sound portals with frictionless </a:t>
            </a:r>
            <a:r>
              <a:rPr sz="600" kern="0" dirty="0" err="1">
                <a:solidFill>
                  <a:srgbClr val="6C79BA"/>
                </a:solidFill>
                <a:cs typeface="+mn-ea"/>
                <a:sym typeface="+mn-lt"/>
              </a:rPr>
              <a:t>chains</a:t>
            </a:r>
            <a:r>
              <a:rPr lang="en-US" altLang="zh-CN" sz="600" kern="0" dirty="0" err="1">
                <a:solidFill>
                  <a:srgbClr val="6C79BA"/>
                </a:solidFill>
                <a:cs typeface="+mn-ea"/>
                <a:sym typeface="+mn-lt"/>
              </a:rPr>
              <a:t>Synergistically</a:t>
            </a:r>
            <a:endParaRPr lang="en-US" altLang="zh-CN" sz="600" kern="0" dirty="0">
              <a:solidFill>
                <a:srgbClr val="6C79BA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54088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  <p:bldP spid="11" grpId="0"/>
      <p:bldP spid="2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8528E6BF-039B-40A0-83F3-061F667D2490}"/>
              </a:ext>
            </a:extLst>
          </p:cNvPr>
          <p:cNvSpPr/>
          <p:nvPr/>
        </p:nvSpPr>
        <p:spPr>
          <a:xfrm>
            <a:off x="7160575" y="0"/>
            <a:ext cx="5031426" cy="6858000"/>
          </a:xfrm>
          <a:custGeom>
            <a:avLst/>
            <a:gdLst>
              <a:gd name="connsiteX0" fmla="*/ 634 w 4115097"/>
              <a:gd name="connsiteY0" fmla="*/ 0 h 6858000"/>
              <a:gd name="connsiteX1" fmla="*/ 4115097 w 4115097"/>
              <a:gd name="connsiteY1" fmla="*/ 0 h 6858000"/>
              <a:gd name="connsiteX2" fmla="*/ 4115097 w 4115097"/>
              <a:gd name="connsiteY2" fmla="*/ 6858000 h 6858000"/>
              <a:gd name="connsiteX3" fmla="*/ 4112397 w 4115097"/>
              <a:gd name="connsiteY3" fmla="*/ 6858000 h 6858000"/>
              <a:gd name="connsiteX4" fmla="*/ 4056649 w 4115097"/>
              <a:gd name="connsiteY4" fmla="*/ 6811547 h 6858000"/>
              <a:gd name="connsiteX5" fmla="*/ 3632497 w 4115097"/>
              <a:gd name="connsiteY5" fmla="*/ 6121400 h 6858000"/>
              <a:gd name="connsiteX6" fmla="*/ 3048297 w 4115097"/>
              <a:gd name="connsiteY6" fmla="*/ 2540000 h 6858000"/>
              <a:gd name="connsiteX7" fmla="*/ 2260897 w 4115097"/>
              <a:gd name="connsiteY7" fmla="*/ 1054100 h 6858000"/>
              <a:gd name="connsiteX8" fmla="*/ 686097 w 4115097"/>
              <a:gd name="connsiteY8" fmla="*/ 736600 h 6858000"/>
              <a:gd name="connsiteX9" fmla="*/ 0 w 4115097"/>
              <a:gd name="connsiteY9" fmla="*/ 2728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115097" h="6858000">
                <a:moveTo>
                  <a:pt x="634" y="0"/>
                </a:moveTo>
                <a:lnTo>
                  <a:pt x="4115097" y="0"/>
                </a:lnTo>
                <a:lnTo>
                  <a:pt x="4115097" y="6858000"/>
                </a:lnTo>
                <a:lnTo>
                  <a:pt x="4112397" y="6858000"/>
                </a:lnTo>
                <a:lnTo>
                  <a:pt x="4056649" y="6811547"/>
                </a:lnTo>
                <a:cubicBezTo>
                  <a:pt x="3899718" y="6669617"/>
                  <a:pt x="3743622" y="6447367"/>
                  <a:pt x="3632497" y="6121400"/>
                </a:cubicBezTo>
                <a:cubicBezTo>
                  <a:pt x="3378497" y="5376333"/>
                  <a:pt x="3276897" y="3384550"/>
                  <a:pt x="3048297" y="2540000"/>
                </a:cubicBezTo>
                <a:cubicBezTo>
                  <a:pt x="2819697" y="1695450"/>
                  <a:pt x="2654597" y="1354667"/>
                  <a:pt x="2260897" y="1054100"/>
                </a:cubicBezTo>
                <a:cubicBezTo>
                  <a:pt x="1867197" y="753533"/>
                  <a:pt x="1043814" y="948267"/>
                  <a:pt x="686097" y="736600"/>
                </a:cubicBezTo>
                <a:cubicBezTo>
                  <a:pt x="417809" y="577850"/>
                  <a:pt x="25697" y="286941"/>
                  <a:pt x="0" y="27285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400AA0B8-0D9A-4B1A-9FAA-AD8BD6E16178}"/>
              </a:ext>
            </a:extLst>
          </p:cNvPr>
          <p:cNvSpPr/>
          <p:nvPr/>
        </p:nvSpPr>
        <p:spPr>
          <a:xfrm rot="5400000">
            <a:off x="5133166" y="-1004284"/>
            <a:ext cx="4496852" cy="9620816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146" name="Freeform: Shape 145">
            <a:extLst>
              <a:ext uri="{FF2B5EF4-FFF2-40B4-BE49-F238E27FC236}">
                <a16:creationId xmlns:a16="http://schemas.microsoft.com/office/drawing/2014/main" id="{3642E353-5C93-4A27-902A-8ED41A14CBEF}"/>
              </a:ext>
            </a:extLst>
          </p:cNvPr>
          <p:cNvSpPr/>
          <p:nvPr/>
        </p:nvSpPr>
        <p:spPr>
          <a:xfrm>
            <a:off x="539769" y="5891898"/>
            <a:ext cx="783951" cy="737502"/>
          </a:xfrm>
          <a:custGeom>
            <a:avLst/>
            <a:gdLst>
              <a:gd name="connsiteX0" fmla="*/ 274794 w 1057996"/>
              <a:gd name="connsiteY0" fmla="*/ 134143 h 995309"/>
              <a:gd name="connsiteX1" fmla="*/ 17619 w 1057996"/>
              <a:gd name="connsiteY1" fmla="*/ 762793 h 995309"/>
              <a:gd name="connsiteX2" fmla="*/ 741519 w 1057996"/>
              <a:gd name="connsiteY2" fmla="*/ 981868 h 995309"/>
              <a:gd name="connsiteX3" fmla="*/ 1055844 w 1057996"/>
              <a:gd name="connsiteY3" fmla="*/ 419893 h 995309"/>
              <a:gd name="connsiteX4" fmla="*/ 846294 w 1057996"/>
              <a:gd name="connsiteY4" fmla="*/ 19843 h 995309"/>
              <a:gd name="connsiteX5" fmla="*/ 274794 w 1057996"/>
              <a:gd name="connsiteY5" fmla="*/ 134143 h 995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57996" h="995309">
                <a:moveTo>
                  <a:pt x="274794" y="134143"/>
                </a:moveTo>
                <a:cubicBezTo>
                  <a:pt x="136681" y="257968"/>
                  <a:pt x="-60168" y="621506"/>
                  <a:pt x="17619" y="762793"/>
                </a:cubicBezTo>
                <a:cubicBezTo>
                  <a:pt x="95406" y="904080"/>
                  <a:pt x="568482" y="1039018"/>
                  <a:pt x="741519" y="981868"/>
                </a:cubicBezTo>
                <a:cubicBezTo>
                  <a:pt x="914557" y="924718"/>
                  <a:pt x="1038382" y="580230"/>
                  <a:pt x="1055844" y="419893"/>
                </a:cubicBezTo>
                <a:cubicBezTo>
                  <a:pt x="1073306" y="259556"/>
                  <a:pt x="982819" y="67468"/>
                  <a:pt x="846294" y="19843"/>
                </a:cubicBezTo>
                <a:cubicBezTo>
                  <a:pt x="709769" y="-27782"/>
                  <a:pt x="412907" y="10318"/>
                  <a:pt x="274794" y="134143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48" name="Freeform: Shape 147">
            <a:extLst>
              <a:ext uri="{FF2B5EF4-FFF2-40B4-BE49-F238E27FC236}">
                <a16:creationId xmlns:a16="http://schemas.microsoft.com/office/drawing/2014/main" id="{7AA87DAD-C80B-4B71-B463-E06118E1AF91}"/>
              </a:ext>
            </a:extLst>
          </p:cNvPr>
          <p:cNvSpPr/>
          <p:nvPr/>
        </p:nvSpPr>
        <p:spPr>
          <a:xfrm>
            <a:off x="1409663" y="5435162"/>
            <a:ext cx="377495" cy="355831"/>
          </a:xfrm>
          <a:custGeom>
            <a:avLst/>
            <a:gdLst>
              <a:gd name="connsiteX0" fmla="*/ 12304 w 377495"/>
              <a:gd name="connsiteY0" fmla="*/ 24873 h 355831"/>
              <a:gd name="connsiteX1" fmla="*/ 73264 w 377495"/>
              <a:gd name="connsiteY1" fmla="*/ 352533 h 355831"/>
              <a:gd name="connsiteX2" fmla="*/ 370444 w 377495"/>
              <a:gd name="connsiteY2" fmla="*/ 184893 h 355831"/>
              <a:gd name="connsiteX3" fmla="*/ 263764 w 377495"/>
              <a:gd name="connsiteY3" fmla="*/ 40113 h 355831"/>
              <a:gd name="connsiteX4" fmla="*/ 12304 w 377495"/>
              <a:gd name="connsiteY4" fmla="*/ 24873 h 355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7495" h="355831">
                <a:moveTo>
                  <a:pt x="12304" y="24873"/>
                </a:moveTo>
                <a:cubicBezTo>
                  <a:pt x="-19446" y="76943"/>
                  <a:pt x="13574" y="325863"/>
                  <a:pt x="73264" y="352533"/>
                </a:cubicBezTo>
                <a:cubicBezTo>
                  <a:pt x="132954" y="379203"/>
                  <a:pt x="338694" y="236963"/>
                  <a:pt x="370444" y="184893"/>
                </a:cubicBezTo>
                <a:cubicBezTo>
                  <a:pt x="402194" y="132823"/>
                  <a:pt x="319644" y="65513"/>
                  <a:pt x="263764" y="40113"/>
                </a:cubicBezTo>
                <a:cubicBezTo>
                  <a:pt x="207884" y="14713"/>
                  <a:pt x="44054" y="-27197"/>
                  <a:pt x="12304" y="24873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US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4BB930D1-8B2B-4487-82D3-51D94A36F847}"/>
              </a:ext>
            </a:extLst>
          </p:cNvPr>
          <p:cNvSpPr txBox="1"/>
          <p:nvPr/>
        </p:nvSpPr>
        <p:spPr>
          <a:xfrm rot="10800000">
            <a:off x="4971998" y="1865845"/>
            <a:ext cx="891515" cy="1160481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>
              <a:latin typeface="+mn-lt"/>
              <a:cs typeface="+mn-ea"/>
              <a:sym typeface="+mn-lt"/>
            </a:endParaRP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5747E394-6641-4AA4-98E9-00631AC56587}"/>
              </a:ext>
            </a:extLst>
          </p:cNvPr>
          <p:cNvGrpSpPr/>
          <p:nvPr/>
        </p:nvGrpSpPr>
        <p:grpSpPr>
          <a:xfrm>
            <a:off x="5196028" y="2331479"/>
            <a:ext cx="443460" cy="388758"/>
            <a:chOff x="2670175" y="1112838"/>
            <a:chExt cx="360363" cy="315913"/>
          </a:xfrm>
          <a:solidFill>
            <a:schemeClr val="bg1"/>
          </a:solidFill>
        </p:grpSpPr>
        <p:sp>
          <p:nvSpPr>
            <p:cNvPr id="152" name="Freeform 793">
              <a:extLst>
                <a:ext uri="{FF2B5EF4-FFF2-40B4-BE49-F238E27FC236}">
                  <a16:creationId xmlns:a16="http://schemas.microsoft.com/office/drawing/2014/main" id="{FA279F00-57C0-4764-8723-91152835A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228725"/>
              <a:ext cx="300038" cy="200025"/>
            </a:xfrm>
            <a:custGeom>
              <a:avLst/>
              <a:gdLst>
                <a:gd name="T0" fmla="*/ 78 w 80"/>
                <a:gd name="T1" fmla="*/ 53 h 53"/>
                <a:gd name="T2" fmla="*/ 2 w 80"/>
                <a:gd name="T3" fmla="*/ 53 h 53"/>
                <a:gd name="T4" fmla="*/ 0 w 80"/>
                <a:gd name="T5" fmla="*/ 51 h 53"/>
                <a:gd name="T6" fmla="*/ 0 w 80"/>
                <a:gd name="T7" fmla="*/ 2 h 53"/>
                <a:gd name="T8" fmla="*/ 2 w 80"/>
                <a:gd name="T9" fmla="*/ 0 h 53"/>
                <a:gd name="T10" fmla="*/ 4 w 80"/>
                <a:gd name="T11" fmla="*/ 2 h 53"/>
                <a:gd name="T12" fmla="*/ 4 w 80"/>
                <a:gd name="T13" fmla="*/ 49 h 53"/>
                <a:gd name="T14" fmla="*/ 76 w 80"/>
                <a:gd name="T15" fmla="*/ 49 h 53"/>
                <a:gd name="T16" fmla="*/ 76 w 80"/>
                <a:gd name="T17" fmla="*/ 2 h 53"/>
                <a:gd name="T18" fmla="*/ 78 w 80"/>
                <a:gd name="T19" fmla="*/ 0 h 53"/>
                <a:gd name="T20" fmla="*/ 80 w 80"/>
                <a:gd name="T21" fmla="*/ 2 h 53"/>
                <a:gd name="T22" fmla="*/ 80 w 80"/>
                <a:gd name="T23" fmla="*/ 51 h 53"/>
                <a:gd name="T24" fmla="*/ 78 w 80"/>
                <a:gd name="T2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53">
                  <a:moveTo>
                    <a:pt x="78" y="53"/>
                  </a:moveTo>
                  <a:cubicBezTo>
                    <a:pt x="2" y="53"/>
                    <a:pt x="2" y="53"/>
                    <a:pt x="2" y="53"/>
                  </a:cubicBezTo>
                  <a:cubicBezTo>
                    <a:pt x="1" y="53"/>
                    <a:pt x="0" y="52"/>
                    <a:pt x="0" y="5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1"/>
                    <a:pt x="77" y="0"/>
                    <a:pt x="78" y="0"/>
                  </a:cubicBezTo>
                  <a:cubicBezTo>
                    <a:pt x="79" y="0"/>
                    <a:pt x="80" y="1"/>
                    <a:pt x="80" y="2"/>
                  </a:cubicBezTo>
                  <a:cubicBezTo>
                    <a:pt x="80" y="51"/>
                    <a:pt x="80" y="51"/>
                    <a:pt x="80" y="51"/>
                  </a:cubicBezTo>
                  <a:cubicBezTo>
                    <a:pt x="80" y="52"/>
                    <a:pt x="79" y="53"/>
                    <a:pt x="78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53" name="Freeform 794">
              <a:extLst>
                <a:ext uri="{FF2B5EF4-FFF2-40B4-BE49-F238E27FC236}">
                  <a16:creationId xmlns:a16="http://schemas.microsoft.com/office/drawing/2014/main" id="{8A92F8B1-2E79-457C-8DE6-02785371B5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0500" y="1277938"/>
              <a:ext cx="134938" cy="106363"/>
            </a:xfrm>
            <a:custGeom>
              <a:avLst/>
              <a:gdLst>
                <a:gd name="T0" fmla="*/ 34 w 36"/>
                <a:gd name="T1" fmla="*/ 28 h 28"/>
                <a:gd name="T2" fmla="*/ 2 w 36"/>
                <a:gd name="T3" fmla="*/ 28 h 28"/>
                <a:gd name="T4" fmla="*/ 0 w 36"/>
                <a:gd name="T5" fmla="*/ 26 h 28"/>
                <a:gd name="T6" fmla="*/ 0 w 36"/>
                <a:gd name="T7" fmla="*/ 2 h 28"/>
                <a:gd name="T8" fmla="*/ 2 w 36"/>
                <a:gd name="T9" fmla="*/ 0 h 28"/>
                <a:gd name="T10" fmla="*/ 34 w 36"/>
                <a:gd name="T11" fmla="*/ 0 h 28"/>
                <a:gd name="T12" fmla="*/ 36 w 36"/>
                <a:gd name="T13" fmla="*/ 2 h 28"/>
                <a:gd name="T14" fmla="*/ 36 w 36"/>
                <a:gd name="T15" fmla="*/ 26 h 28"/>
                <a:gd name="T16" fmla="*/ 34 w 36"/>
                <a:gd name="T17" fmla="*/ 28 h 28"/>
                <a:gd name="T18" fmla="*/ 4 w 36"/>
                <a:gd name="T19" fmla="*/ 24 h 28"/>
                <a:gd name="T20" fmla="*/ 32 w 36"/>
                <a:gd name="T21" fmla="*/ 24 h 28"/>
                <a:gd name="T22" fmla="*/ 32 w 36"/>
                <a:gd name="T23" fmla="*/ 4 h 28"/>
                <a:gd name="T24" fmla="*/ 4 w 36"/>
                <a:gd name="T25" fmla="*/ 4 h 28"/>
                <a:gd name="T26" fmla="*/ 4 w 36"/>
                <a:gd name="T27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28">
                  <a:moveTo>
                    <a:pt x="34" y="28"/>
                  </a:moveTo>
                  <a:cubicBezTo>
                    <a:pt x="2" y="28"/>
                    <a:pt x="2" y="28"/>
                    <a:pt x="2" y="28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1"/>
                    <a:pt x="36" y="2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7"/>
                    <a:pt x="35" y="28"/>
                    <a:pt x="34" y="28"/>
                  </a:cubicBezTo>
                  <a:close/>
                  <a:moveTo>
                    <a:pt x="4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54" name="Freeform 795">
              <a:extLst>
                <a:ext uri="{FF2B5EF4-FFF2-40B4-BE49-F238E27FC236}">
                  <a16:creationId xmlns:a16="http://schemas.microsoft.com/office/drawing/2014/main" id="{6960DF57-79FA-4B45-9D02-A55469D7B4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81313" y="1277938"/>
              <a:ext cx="88900" cy="150813"/>
            </a:xfrm>
            <a:custGeom>
              <a:avLst/>
              <a:gdLst>
                <a:gd name="T0" fmla="*/ 22 w 24"/>
                <a:gd name="T1" fmla="*/ 40 h 40"/>
                <a:gd name="T2" fmla="*/ 2 w 24"/>
                <a:gd name="T3" fmla="*/ 40 h 40"/>
                <a:gd name="T4" fmla="*/ 0 w 24"/>
                <a:gd name="T5" fmla="*/ 38 h 40"/>
                <a:gd name="T6" fmla="*/ 0 w 24"/>
                <a:gd name="T7" fmla="*/ 2 h 40"/>
                <a:gd name="T8" fmla="*/ 2 w 24"/>
                <a:gd name="T9" fmla="*/ 0 h 40"/>
                <a:gd name="T10" fmla="*/ 22 w 24"/>
                <a:gd name="T11" fmla="*/ 0 h 40"/>
                <a:gd name="T12" fmla="*/ 24 w 24"/>
                <a:gd name="T13" fmla="*/ 2 h 40"/>
                <a:gd name="T14" fmla="*/ 24 w 24"/>
                <a:gd name="T15" fmla="*/ 38 h 40"/>
                <a:gd name="T16" fmla="*/ 22 w 24"/>
                <a:gd name="T17" fmla="*/ 40 h 40"/>
                <a:gd name="T18" fmla="*/ 4 w 24"/>
                <a:gd name="T19" fmla="*/ 36 h 40"/>
                <a:gd name="T20" fmla="*/ 20 w 24"/>
                <a:gd name="T21" fmla="*/ 36 h 40"/>
                <a:gd name="T22" fmla="*/ 20 w 24"/>
                <a:gd name="T23" fmla="*/ 4 h 40"/>
                <a:gd name="T24" fmla="*/ 4 w 24"/>
                <a:gd name="T25" fmla="*/ 4 h 40"/>
                <a:gd name="T26" fmla="*/ 4 w 24"/>
                <a:gd name="T27" fmla="*/ 3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40">
                  <a:moveTo>
                    <a:pt x="22" y="40"/>
                  </a:moveTo>
                  <a:cubicBezTo>
                    <a:pt x="2" y="40"/>
                    <a:pt x="2" y="40"/>
                    <a:pt x="2" y="40"/>
                  </a:cubicBezTo>
                  <a:cubicBezTo>
                    <a:pt x="1" y="40"/>
                    <a:pt x="0" y="39"/>
                    <a:pt x="0" y="3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4" y="1"/>
                    <a:pt x="24" y="2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9"/>
                    <a:pt x="23" y="40"/>
                    <a:pt x="22" y="40"/>
                  </a:cubicBezTo>
                  <a:close/>
                  <a:moveTo>
                    <a:pt x="4" y="36"/>
                  </a:moveTo>
                  <a:cubicBezTo>
                    <a:pt x="20" y="36"/>
                    <a:pt x="20" y="36"/>
                    <a:pt x="20" y="36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4" y="4"/>
                    <a:pt x="4" y="4"/>
                    <a:pt x="4" y="4"/>
                  </a:cubicBezTo>
                  <a:lnTo>
                    <a:pt x="4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55" name="Freeform 796">
              <a:extLst>
                <a:ext uri="{FF2B5EF4-FFF2-40B4-BE49-F238E27FC236}">
                  <a16:creationId xmlns:a16="http://schemas.microsoft.com/office/drawing/2014/main" id="{A76791D3-E29D-4179-8D88-2AC78518E8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5" y="1112838"/>
              <a:ext cx="360363" cy="74613"/>
            </a:xfrm>
            <a:custGeom>
              <a:avLst/>
              <a:gdLst>
                <a:gd name="T0" fmla="*/ 94 w 96"/>
                <a:gd name="T1" fmla="*/ 20 h 20"/>
                <a:gd name="T2" fmla="*/ 2 w 96"/>
                <a:gd name="T3" fmla="*/ 20 h 20"/>
                <a:gd name="T4" fmla="*/ 0 w 96"/>
                <a:gd name="T5" fmla="*/ 19 h 20"/>
                <a:gd name="T6" fmla="*/ 0 w 96"/>
                <a:gd name="T7" fmla="*/ 17 h 20"/>
                <a:gd name="T8" fmla="*/ 8 w 96"/>
                <a:gd name="T9" fmla="*/ 1 h 20"/>
                <a:gd name="T10" fmla="*/ 10 w 96"/>
                <a:gd name="T11" fmla="*/ 0 h 20"/>
                <a:gd name="T12" fmla="*/ 86 w 96"/>
                <a:gd name="T13" fmla="*/ 0 h 20"/>
                <a:gd name="T14" fmla="*/ 88 w 96"/>
                <a:gd name="T15" fmla="*/ 1 h 20"/>
                <a:gd name="T16" fmla="*/ 96 w 96"/>
                <a:gd name="T17" fmla="*/ 17 h 20"/>
                <a:gd name="T18" fmla="*/ 96 w 96"/>
                <a:gd name="T19" fmla="*/ 19 h 20"/>
                <a:gd name="T20" fmla="*/ 94 w 96"/>
                <a:gd name="T21" fmla="*/ 20 h 20"/>
                <a:gd name="T22" fmla="*/ 5 w 96"/>
                <a:gd name="T23" fmla="*/ 16 h 20"/>
                <a:gd name="T24" fmla="*/ 91 w 96"/>
                <a:gd name="T25" fmla="*/ 16 h 20"/>
                <a:gd name="T26" fmla="*/ 85 w 96"/>
                <a:gd name="T27" fmla="*/ 4 h 20"/>
                <a:gd name="T28" fmla="*/ 11 w 96"/>
                <a:gd name="T29" fmla="*/ 4 h 20"/>
                <a:gd name="T30" fmla="*/ 5 w 96"/>
                <a:gd name="T31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" h="20">
                  <a:moveTo>
                    <a:pt x="94" y="20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1" y="20"/>
                    <a:pt x="1" y="20"/>
                    <a:pt x="0" y="19"/>
                  </a:cubicBezTo>
                  <a:cubicBezTo>
                    <a:pt x="0" y="18"/>
                    <a:pt x="0" y="18"/>
                    <a:pt x="0" y="17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9" y="0"/>
                    <a:pt x="10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7" y="0"/>
                    <a:pt x="87" y="0"/>
                    <a:pt x="88" y="1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6" y="18"/>
                    <a:pt x="96" y="18"/>
                    <a:pt x="96" y="19"/>
                  </a:cubicBezTo>
                  <a:cubicBezTo>
                    <a:pt x="95" y="20"/>
                    <a:pt x="95" y="20"/>
                    <a:pt x="94" y="20"/>
                  </a:cubicBezTo>
                  <a:close/>
                  <a:moveTo>
                    <a:pt x="5" y="16"/>
                  </a:moveTo>
                  <a:cubicBezTo>
                    <a:pt x="91" y="16"/>
                    <a:pt x="91" y="16"/>
                    <a:pt x="91" y="16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11" y="4"/>
                    <a:pt x="11" y="4"/>
                    <a:pt x="11" y="4"/>
                  </a:cubicBezTo>
                  <a:lnTo>
                    <a:pt x="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56" name="Freeform 797">
              <a:extLst>
                <a:ext uri="{FF2B5EF4-FFF2-40B4-BE49-F238E27FC236}">
                  <a16:creationId xmlns:a16="http://schemas.microsoft.com/office/drawing/2014/main" id="{2A135FB5-9497-4C1D-A61E-750392AFB0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5" y="1173163"/>
              <a:ext cx="360363" cy="90488"/>
            </a:xfrm>
            <a:custGeom>
              <a:avLst/>
              <a:gdLst>
                <a:gd name="T0" fmla="*/ 60 w 96"/>
                <a:gd name="T1" fmla="*/ 24 h 24"/>
                <a:gd name="T2" fmla="*/ 48 w 96"/>
                <a:gd name="T3" fmla="*/ 19 h 24"/>
                <a:gd name="T4" fmla="*/ 36 w 96"/>
                <a:gd name="T5" fmla="*/ 24 h 24"/>
                <a:gd name="T6" fmla="*/ 22 w 96"/>
                <a:gd name="T7" fmla="*/ 17 h 24"/>
                <a:gd name="T8" fmla="*/ 14 w 96"/>
                <a:gd name="T9" fmla="*/ 20 h 24"/>
                <a:gd name="T10" fmla="*/ 0 w 96"/>
                <a:gd name="T11" fmla="*/ 6 h 24"/>
                <a:gd name="T12" fmla="*/ 0 w 96"/>
                <a:gd name="T13" fmla="*/ 2 h 24"/>
                <a:gd name="T14" fmla="*/ 2 w 96"/>
                <a:gd name="T15" fmla="*/ 0 h 24"/>
                <a:gd name="T16" fmla="*/ 94 w 96"/>
                <a:gd name="T17" fmla="*/ 0 h 24"/>
                <a:gd name="T18" fmla="*/ 96 w 96"/>
                <a:gd name="T19" fmla="*/ 2 h 24"/>
                <a:gd name="T20" fmla="*/ 96 w 96"/>
                <a:gd name="T21" fmla="*/ 6 h 24"/>
                <a:gd name="T22" fmla="*/ 82 w 96"/>
                <a:gd name="T23" fmla="*/ 20 h 24"/>
                <a:gd name="T24" fmla="*/ 74 w 96"/>
                <a:gd name="T25" fmla="*/ 17 h 24"/>
                <a:gd name="T26" fmla="*/ 60 w 96"/>
                <a:gd name="T27" fmla="*/ 24 h 24"/>
                <a:gd name="T28" fmla="*/ 48 w 96"/>
                <a:gd name="T29" fmla="*/ 15 h 24"/>
                <a:gd name="T30" fmla="*/ 50 w 96"/>
                <a:gd name="T31" fmla="*/ 15 h 24"/>
                <a:gd name="T32" fmla="*/ 60 w 96"/>
                <a:gd name="T33" fmla="*/ 20 h 24"/>
                <a:gd name="T34" fmla="*/ 72 w 96"/>
                <a:gd name="T35" fmla="*/ 13 h 24"/>
                <a:gd name="T36" fmla="*/ 74 w 96"/>
                <a:gd name="T37" fmla="*/ 12 h 24"/>
                <a:gd name="T38" fmla="*/ 75 w 96"/>
                <a:gd name="T39" fmla="*/ 13 h 24"/>
                <a:gd name="T40" fmla="*/ 82 w 96"/>
                <a:gd name="T41" fmla="*/ 16 h 24"/>
                <a:gd name="T42" fmla="*/ 92 w 96"/>
                <a:gd name="T43" fmla="*/ 6 h 24"/>
                <a:gd name="T44" fmla="*/ 92 w 96"/>
                <a:gd name="T45" fmla="*/ 4 h 24"/>
                <a:gd name="T46" fmla="*/ 4 w 96"/>
                <a:gd name="T47" fmla="*/ 4 h 24"/>
                <a:gd name="T48" fmla="*/ 4 w 96"/>
                <a:gd name="T49" fmla="*/ 6 h 24"/>
                <a:gd name="T50" fmla="*/ 14 w 96"/>
                <a:gd name="T51" fmla="*/ 16 h 24"/>
                <a:gd name="T52" fmla="*/ 21 w 96"/>
                <a:gd name="T53" fmla="*/ 13 h 24"/>
                <a:gd name="T54" fmla="*/ 22 w 96"/>
                <a:gd name="T55" fmla="*/ 12 h 24"/>
                <a:gd name="T56" fmla="*/ 24 w 96"/>
                <a:gd name="T57" fmla="*/ 13 h 24"/>
                <a:gd name="T58" fmla="*/ 36 w 96"/>
                <a:gd name="T59" fmla="*/ 20 h 24"/>
                <a:gd name="T60" fmla="*/ 47 w 96"/>
                <a:gd name="T61" fmla="*/ 15 h 24"/>
                <a:gd name="T62" fmla="*/ 48 w 96"/>
                <a:gd name="T6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6" h="24">
                  <a:moveTo>
                    <a:pt x="60" y="24"/>
                  </a:moveTo>
                  <a:cubicBezTo>
                    <a:pt x="56" y="24"/>
                    <a:pt x="51" y="22"/>
                    <a:pt x="48" y="19"/>
                  </a:cubicBezTo>
                  <a:cubicBezTo>
                    <a:pt x="45" y="22"/>
                    <a:pt x="40" y="24"/>
                    <a:pt x="36" y="24"/>
                  </a:cubicBezTo>
                  <a:cubicBezTo>
                    <a:pt x="31" y="24"/>
                    <a:pt x="25" y="21"/>
                    <a:pt x="22" y="17"/>
                  </a:cubicBezTo>
                  <a:cubicBezTo>
                    <a:pt x="20" y="19"/>
                    <a:pt x="17" y="20"/>
                    <a:pt x="14" y="20"/>
                  </a:cubicBezTo>
                  <a:cubicBezTo>
                    <a:pt x="6" y="20"/>
                    <a:pt x="0" y="14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5" y="0"/>
                    <a:pt x="96" y="1"/>
                    <a:pt x="96" y="2"/>
                  </a:cubicBezTo>
                  <a:cubicBezTo>
                    <a:pt x="96" y="6"/>
                    <a:pt x="96" y="6"/>
                    <a:pt x="96" y="6"/>
                  </a:cubicBezTo>
                  <a:cubicBezTo>
                    <a:pt x="96" y="14"/>
                    <a:pt x="90" y="20"/>
                    <a:pt x="82" y="20"/>
                  </a:cubicBezTo>
                  <a:cubicBezTo>
                    <a:pt x="79" y="20"/>
                    <a:pt x="76" y="19"/>
                    <a:pt x="74" y="17"/>
                  </a:cubicBezTo>
                  <a:cubicBezTo>
                    <a:pt x="71" y="21"/>
                    <a:pt x="65" y="24"/>
                    <a:pt x="60" y="24"/>
                  </a:cubicBezTo>
                  <a:close/>
                  <a:moveTo>
                    <a:pt x="48" y="15"/>
                  </a:moveTo>
                  <a:cubicBezTo>
                    <a:pt x="49" y="15"/>
                    <a:pt x="49" y="15"/>
                    <a:pt x="50" y="15"/>
                  </a:cubicBezTo>
                  <a:cubicBezTo>
                    <a:pt x="52" y="18"/>
                    <a:pt x="56" y="20"/>
                    <a:pt x="60" y="20"/>
                  </a:cubicBezTo>
                  <a:cubicBezTo>
                    <a:pt x="65" y="20"/>
                    <a:pt x="70" y="17"/>
                    <a:pt x="72" y="13"/>
                  </a:cubicBezTo>
                  <a:cubicBezTo>
                    <a:pt x="73" y="12"/>
                    <a:pt x="73" y="12"/>
                    <a:pt x="74" y="12"/>
                  </a:cubicBezTo>
                  <a:cubicBezTo>
                    <a:pt x="74" y="12"/>
                    <a:pt x="75" y="12"/>
                    <a:pt x="75" y="13"/>
                  </a:cubicBezTo>
                  <a:cubicBezTo>
                    <a:pt x="78" y="15"/>
                    <a:pt x="80" y="16"/>
                    <a:pt x="82" y="16"/>
                  </a:cubicBezTo>
                  <a:cubicBezTo>
                    <a:pt x="88" y="16"/>
                    <a:pt x="92" y="12"/>
                    <a:pt x="92" y="6"/>
                  </a:cubicBezTo>
                  <a:cubicBezTo>
                    <a:pt x="92" y="4"/>
                    <a:pt x="92" y="4"/>
                    <a:pt x="9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12"/>
                    <a:pt x="8" y="16"/>
                    <a:pt x="14" y="16"/>
                  </a:cubicBezTo>
                  <a:cubicBezTo>
                    <a:pt x="16" y="16"/>
                    <a:pt x="18" y="15"/>
                    <a:pt x="21" y="13"/>
                  </a:cubicBezTo>
                  <a:cubicBezTo>
                    <a:pt x="21" y="12"/>
                    <a:pt x="22" y="12"/>
                    <a:pt x="22" y="12"/>
                  </a:cubicBezTo>
                  <a:cubicBezTo>
                    <a:pt x="23" y="12"/>
                    <a:pt x="23" y="12"/>
                    <a:pt x="24" y="13"/>
                  </a:cubicBezTo>
                  <a:cubicBezTo>
                    <a:pt x="26" y="17"/>
                    <a:pt x="31" y="20"/>
                    <a:pt x="36" y="20"/>
                  </a:cubicBezTo>
                  <a:cubicBezTo>
                    <a:pt x="40" y="20"/>
                    <a:pt x="44" y="18"/>
                    <a:pt x="47" y="15"/>
                  </a:cubicBezTo>
                  <a:cubicBezTo>
                    <a:pt x="47" y="15"/>
                    <a:pt x="47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57" name="Freeform 798">
              <a:extLst>
                <a:ext uri="{FF2B5EF4-FFF2-40B4-BE49-F238E27FC236}">
                  <a16:creationId xmlns:a16="http://schemas.microsoft.com/office/drawing/2014/main" id="{728B75CF-5C4E-4743-8564-1DC4A2613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4788" y="1112838"/>
              <a:ext cx="30163" cy="120650"/>
            </a:xfrm>
            <a:custGeom>
              <a:avLst/>
              <a:gdLst>
                <a:gd name="T0" fmla="*/ 2 w 8"/>
                <a:gd name="T1" fmla="*/ 32 h 32"/>
                <a:gd name="T2" fmla="*/ 0 w 8"/>
                <a:gd name="T3" fmla="*/ 30 h 32"/>
                <a:gd name="T4" fmla="*/ 0 w 8"/>
                <a:gd name="T5" fmla="*/ 18 h 32"/>
                <a:gd name="T6" fmla="*/ 0 w 8"/>
                <a:gd name="T7" fmla="*/ 18 h 32"/>
                <a:gd name="T8" fmla="*/ 4 w 8"/>
                <a:gd name="T9" fmla="*/ 2 h 32"/>
                <a:gd name="T10" fmla="*/ 6 w 8"/>
                <a:gd name="T11" fmla="*/ 0 h 32"/>
                <a:gd name="T12" fmla="*/ 8 w 8"/>
                <a:gd name="T13" fmla="*/ 2 h 32"/>
                <a:gd name="T14" fmla="*/ 4 w 8"/>
                <a:gd name="T15" fmla="*/ 18 h 32"/>
                <a:gd name="T16" fmla="*/ 4 w 8"/>
                <a:gd name="T17" fmla="*/ 30 h 32"/>
                <a:gd name="T18" fmla="*/ 2 w 8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32">
                  <a:moveTo>
                    <a:pt x="2" y="32"/>
                  </a:moveTo>
                  <a:cubicBezTo>
                    <a:pt x="1" y="32"/>
                    <a:pt x="0" y="31"/>
                    <a:pt x="0" y="3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1"/>
                    <a:pt x="3" y="32"/>
                    <a:pt x="2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58" name="Freeform 799">
              <a:extLst>
                <a:ext uri="{FF2B5EF4-FFF2-40B4-BE49-F238E27FC236}">
                  <a16:creationId xmlns:a16="http://schemas.microsoft.com/office/drawing/2014/main" id="{FA4F2CA3-C182-4CC7-9DD9-D83BF2C81D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3213" y="1112838"/>
              <a:ext cx="14288" cy="131763"/>
            </a:xfrm>
            <a:custGeom>
              <a:avLst/>
              <a:gdLst>
                <a:gd name="T0" fmla="*/ 2 w 4"/>
                <a:gd name="T1" fmla="*/ 35 h 35"/>
                <a:gd name="T2" fmla="*/ 0 w 4"/>
                <a:gd name="T3" fmla="*/ 33 h 35"/>
                <a:gd name="T4" fmla="*/ 0 w 4"/>
                <a:gd name="T5" fmla="*/ 2 h 35"/>
                <a:gd name="T6" fmla="*/ 2 w 4"/>
                <a:gd name="T7" fmla="*/ 0 h 35"/>
                <a:gd name="T8" fmla="*/ 4 w 4"/>
                <a:gd name="T9" fmla="*/ 2 h 35"/>
                <a:gd name="T10" fmla="*/ 4 w 4"/>
                <a:gd name="T11" fmla="*/ 33 h 35"/>
                <a:gd name="T12" fmla="*/ 2 w 4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35">
                  <a:moveTo>
                    <a:pt x="2" y="35"/>
                  </a:moveTo>
                  <a:cubicBezTo>
                    <a:pt x="1" y="35"/>
                    <a:pt x="0" y="34"/>
                    <a:pt x="0" y="3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4"/>
                    <a:pt x="3" y="35"/>
                    <a:pt x="2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59" name="Freeform 800">
              <a:extLst>
                <a:ext uri="{FF2B5EF4-FFF2-40B4-BE49-F238E27FC236}">
                  <a16:creationId xmlns:a16="http://schemas.microsoft.com/office/drawing/2014/main" id="{2085B2F8-3DC8-4E38-84EA-C850390A2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5763" y="1112838"/>
              <a:ext cx="30163" cy="120650"/>
            </a:xfrm>
            <a:custGeom>
              <a:avLst/>
              <a:gdLst>
                <a:gd name="T0" fmla="*/ 6 w 8"/>
                <a:gd name="T1" fmla="*/ 32 h 32"/>
                <a:gd name="T2" fmla="*/ 4 w 8"/>
                <a:gd name="T3" fmla="*/ 30 h 32"/>
                <a:gd name="T4" fmla="*/ 4 w 8"/>
                <a:gd name="T5" fmla="*/ 18 h 32"/>
                <a:gd name="T6" fmla="*/ 0 w 8"/>
                <a:gd name="T7" fmla="*/ 2 h 32"/>
                <a:gd name="T8" fmla="*/ 2 w 8"/>
                <a:gd name="T9" fmla="*/ 0 h 32"/>
                <a:gd name="T10" fmla="*/ 4 w 8"/>
                <a:gd name="T11" fmla="*/ 2 h 32"/>
                <a:gd name="T12" fmla="*/ 8 w 8"/>
                <a:gd name="T13" fmla="*/ 18 h 32"/>
                <a:gd name="T14" fmla="*/ 8 w 8"/>
                <a:gd name="T15" fmla="*/ 18 h 32"/>
                <a:gd name="T16" fmla="*/ 8 w 8"/>
                <a:gd name="T17" fmla="*/ 30 h 32"/>
                <a:gd name="T18" fmla="*/ 6 w 8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32">
                  <a:moveTo>
                    <a:pt x="6" y="32"/>
                  </a:moveTo>
                  <a:cubicBezTo>
                    <a:pt x="5" y="32"/>
                    <a:pt x="4" y="31"/>
                    <a:pt x="4" y="30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3" y="0"/>
                    <a:pt x="4" y="0"/>
                    <a:pt x="4" y="2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1"/>
                    <a:pt x="7" y="32"/>
                    <a:pt x="6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60" name="Oval 801">
              <a:extLst>
                <a:ext uri="{FF2B5EF4-FFF2-40B4-BE49-F238E27FC236}">
                  <a16:creationId xmlns:a16="http://schemas.microsoft.com/office/drawing/2014/main" id="{FDF096DB-EFBD-498E-A2F6-037220EADC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763" y="1354138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pic>
        <p:nvPicPr>
          <p:cNvPr id="3" name="图片 2">
            <a:extLst>
              <a:ext uri="{FF2B5EF4-FFF2-40B4-BE49-F238E27FC236}">
                <a16:creationId xmlns:a16="http://schemas.microsoft.com/office/drawing/2014/main" id="{8D5CE58E-DCA5-4021-ABB2-7E49847A252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99186" y="495301"/>
            <a:ext cx="6362699" cy="6362699"/>
          </a:xfrm>
          <a:prstGeom prst="rect">
            <a:avLst/>
          </a:prstGeom>
        </p:spPr>
      </p:pic>
      <p:grpSp>
        <p:nvGrpSpPr>
          <p:cNvPr id="19" name="Group 184">
            <a:extLst>
              <a:ext uri="{FF2B5EF4-FFF2-40B4-BE49-F238E27FC236}">
                <a16:creationId xmlns:a16="http://schemas.microsoft.com/office/drawing/2014/main" id="{2652F1E8-B1FE-4BD0-8590-1EB47B7233B3}"/>
              </a:ext>
            </a:extLst>
          </p:cNvPr>
          <p:cNvGrpSpPr/>
          <p:nvPr/>
        </p:nvGrpSpPr>
        <p:grpSpPr>
          <a:xfrm>
            <a:off x="9676288" y="1145668"/>
            <a:ext cx="1651379" cy="1320136"/>
            <a:chOff x="10053740" y="592613"/>
            <a:chExt cx="1072349" cy="857252"/>
          </a:xfrm>
          <a:solidFill>
            <a:srgbClr val="FAD34D"/>
          </a:solidFill>
        </p:grpSpPr>
        <p:sp>
          <p:nvSpPr>
            <p:cNvPr id="20" name="Freeform: Shape 182">
              <a:extLst>
                <a:ext uri="{FF2B5EF4-FFF2-40B4-BE49-F238E27FC236}">
                  <a16:creationId xmlns:a16="http://schemas.microsoft.com/office/drawing/2014/main" id="{6CE83E35-F4FA-4B96-B829-9FFD1AE5D4E2}"/>
                </a:ext>
              </a:extLst>
            </p:cNvPr>
            <p:cNvSpPr/>
            <p:nvPr/>
          </p:nvSpPr>
          <p:spPr>
            <a:xfrm>
              <a:off x="10419674" y="890707"/>
              <a:ext cx="706415" cy="559158"/>
            </a:xfrm>
            <a:custGeom>
              <a:avLst/>
              <a:gdLst>
                <a:gd name="connsiteX0" fmla="*/ 177502 w 704333"/>
                <a:gd name="connsiteY0" fmla="*/ 49126 h 580325"/>
                <a:gd name="connsiteX1" fmla="*/ 6052 w 704333"/>
                <a:gd name="connsiteY1" fmla="*/ 426316 h 580325"/>
                <a:gd name="connsiteX2" fmla="*/ 428962 w 704333"/>
                <a:gd name="connsiteY2" fmla="*/ 574906 h 580325"/>
                <a:gd name="connsiteX3" fmla="*/ 703282 w 704333"/>
                <a:gd name="connsiteY3" fmla="*/ 254866 h 580325"/>
                <a:gd name="connsiteX4" fmla="*/ 508972 w 704333"/>
                <a:gd name="connsiteY4" fmla="*/ 71986 h 580325"/>
                <a:gd name="connsiteX5" fmla="*/ 154642 w 704333"/>
                <a:gd name="connsiteY5" fmla="*/ 3406 h 580325"/>
                <a:gd name="connsiteX6" fmla="*/ 177502 w 704333"/>
                <a:gd name="connsiteY6" fmla="*/ 49126 h 580325"/>
                <a:gd name="connsiteX0" fmla="*/ 179584 w 706415"/>
                <a:gd name="connsiteY0" fmla="*/ 27959 h 559158"/>
                <a:gd name="connsiteX1" fmla="*/ 8134 w 706415"/>
                <a:gd name="connsiteY1" fmla="*/ 405149 h 559158"/>
                <a:gd name="connsiteX2" fmla="*/ 431044 w 706415"/>
                <a:gd name="connsiteY2" fmla="*/ 553739 h 559158"/>
                <a:gd name="connsiteX3" fmla="*/ 705364 w 706415"/>
                <a:gd name="connsiteY3" fmla="*/ 233699 h 559158"/>
                <a:gd name="connsiteX4" fmla="*/ 511054 w 706415"/>
                <a:gd name="connsiteY4" fmla="*/ 50819 h 559158"/>
                <a:gd name="connsiteX5" fmla="*/ 179584 w 706415"/>
                <a:gd name="connsiteY5" fmla="*/ 27959 h 559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6415" h="559158">
                  <a:moveTo>
                    <a:pt x="179584" y="27959"/>
                  </a:moveTo>
                  <a:cubicBezTo>
                    <a:pt x="95764" y="87014"/>
                    <a:pt x="-33776" y="317519"/>
                    <a:pt x="8134" y="405149"/>
                  </a:cubicBezTo>
                  <a:cubicBezTo>
                    <a:pt x="50044" y="492779"/>
                    <a:pt x="314839" y="582314"/>
                    <a:pt x="431044" y="553739"/>
                  </a:cubicBezTo>
                  <a:cubicBezTo>
                    <a:pt x="547249" y="525164"/>
                    <a:pt x="692029" y="317519"/>
                    <a:pt x="705364" y="233699"/>
                  </a:cubicBezTo>
                  <a:cubicBezTo>
                    <a:pt x="718699" y="149879"/>
                    <a:pt x="602494" y="92729"/>
                    <a:pt x="511054" y="50819"/>
                  </a:cubicBezTo>
                  <a:cubicBezTo>
                    <a:pt x="423424" y="16529"/>
                    <a:pt x="263404" y="-31096"/>
                    <a:pt x="179584" y="27959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-4572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1" name="Freeform: Shape 183">
              <a:extLst>
                <a:ext uri="{FF2B5EF4-FFF2-40B4-BE49-F238E27FC236}">
                  <a16:creationId xmlns:a16="http://schemas.microsoft.com/office/drawing/2014/main" id="{0C2F88D2-CDDD-466E-ACD5-5A77AC64EFE9}"/>
                </a:ext>
              </a:extLst>
            </p:cNvPr>
            <p:cNvSpPr/>
            <p:nvPr/>
          </p:nvSpPr>
          <p:spPr>
            <a:xfrm>
              <a:off x="10053740" y="592613"/>
              <a:ext cx="289173" cy="267730"/>
            </a:xfrm>
            <a:custGeom>
              <a:avLst/>
              <a:gdLst>
                <a:gd name="connsiteX0" fmla="*/ 31917 w 289173"/>
                <a:gd name="connsiteY0" fmla="*/ 21108 h 267730"/>
                <a:gd name="connsiteX1" fmla="*/ 22392 w 289173"/>
                <a:gd name="connsiteY1" fmla="*/ 259233 h 267730"/>
                <a:gd name="connsiteX2" fmla="*/ 284330 w 289173"/>
                <a:gd name="connsiteY2" fmla="*/ 197321 h 267730"/>
                <a:gd name="connsiteX3" fmla="*/ 179555 w 289173"/>
                <a:gd name="connsiteY3" fmla="*/ 30633 h 267730"/>
                <a:gd name="connsiteX4" fmla="*/ 31917 w 289173"/>
                <a:gd name="connsiteY4" fmla="*/ 21108 h 26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173" h="267730">
                  <a:moveTo>
                    <a:pt x="31917" y="21108"/>
                  </a:moveTo>
                  <a:cubicBezTo>
                    <a:pt x="5723" y="59208"/>
                    <a:pt x="-19677" y="229864"/>
                    <a:pt x="22392" y="259233"/>
                  </a:cubicBezTo>
                  <a:cubicBezTo>
                    <a:pt x="64461" y="288602"/>
                    <a:pt x="258136" y="235421"/>
                    <a:pt x="284330" y="197321"/>
                  </a:cubicBezTo>
                  <a:cubicBezTo>
                    <a:pt x="310524" y="159221"/>
                    <a:pt x="224005" y="58414"/>
                    <a:pt x="179555" y="30633"/>
                  </a:cubicBezTo>
                  <a:cubicBezTo>
                    <a:pt x="135105" y="2852"/>
                    <a:pt x="58111" y="-16992"/>
                    <a:pt x="31917" y="2110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-4572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22" name="Google Shape;978;p41">
            <a:extLst>
              <a:ext uri="{FF2B5EF4-FFF2-40B4-BE49-F238E27FC236}">
                <a16:creationId xmlns:a16="http://schemas.microsoft.com/office/drawing/2014/main" id="{91361441-E29E-450B-B6F5-20DC7321A37F}"/>
              </a:ext>
            </a:extLst>
          </p:cNvPr>
          <p:cNvSpPr/>
          <p:nvPr/>
        </p:nvSpPr>
        <p:spPr>
          <a:xfrm>
            <a:off x="6347368" y="1912243"/>
            <a:ext cx="3130800" cy="651200"/>
          </a:xfrm>
          <a:prstGeom prst="roundRect">
            <a:avLst>
              <a:gd name="adj" fmla="val 50000"/>
            </a:avLst>
          </a:prstGeom>
          <a:solidFill>
            <a:srgbClr val="FDD64F"/>
          </a:solidFill>
          <a:ln w="381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1100"/>
            </a:pPr>
            <a:r>
              <a:rPr lang="en" sz="4667" kern="0" dirty="0">
                <a:solidFill>
                  <a:srgbClr val="FFFFFF"/>
                </a:solidFill>
                <a:cs typeface="+mn-ea"/>
                <a:sym typeface="+mn-lt"/>
              </a:rPr>
              <a:t> </a:t>
            </a:r>
            <a:endParaRPr sz="4667" kern="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23" name="iṩļïḓè">
            <a:extLst>
              <a:ext uri="{FF2B5EF4-FFF2-40B4-BE49-F238E27FC236}">
                <a16:creationId xmlns:a16="http://schemas.microsoft.com/office/drawing/2014/main" id="{E5EAE1ED-3B56-448D-AEE0-14762E38E89B}"/>
              </a:ext>
            </a:extLst>
          </p:cNvPr>
          <p:cNvSpPr txBox="1"/>
          <p:nvPr/>
        </p:nvSpPr>
        <p:spPr bwMode="auto">
          <a:xfrm>
            <a:off x="7145370" y="2086116"/>
            <a:ext cx="1534794" cy="338653"/>
          </a:xfrm>
          <a:prstGeom prst="roundRect">
            <a:avLst>
              <a:gd name="adj" fmla="val 5000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dist"/>
            <a:r>
              <a:rPr lang="en-US" altLang="zh-CN" sz="1000" dirty="0">
                <a:solidFill>
                  <a:srgbClr val="0F65B4"/>
                </a:solidFill>
                <a:cs typeface="+mn-ea"/>
                <a:sym typeface="+mn-lt"/>
              </a:rPr>
              <a:t>Jpppt.com</a:t>
            </a:r>
          </a:p>
        </p:txBody>
      </p:sp>
      <p:sp>
        <p:nvSpPr>
          <p:cNvPr id="25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55E5A00C-32B4-4ECF-ACB0-530FC8B8DF47}"/>
              </a:ext>
            </a:extLst>
          </p:cNvPr>
          <p:cNvSpPr txBox="1"/>
          <p:nvPr/>
        </p:nvSpPr>
        <p:spPr>
          <a:xfrm>
            <a:off x="7344646" y="2780977"/>
            <a:ext cx="3033254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26" name="TextBox 71">
            <a:extLst>
              <a:ext uri="{FF2B5EF4-FFF2-40B4-BE49-F238E27FC236}">
                <a16:creationId xmlns:a16="http://schemas.microsoft.com/office/drawing/2014/main" id="{0910D4ED-97CF-4EA3-926E-63E58E2139AA}"/>
              </a:ext>
            </a:extLst>
          </p:cNvPr>
          <p:cNvSpPr txBox="1"/>
          <p:nvPr/>
        </p:nvSpPr>
        <p:spPr>
          <a:xfrm>
            <a:off x="6438814" y="2820234"/>
            <a:ext cx="689084" cy="689084"/>
          </a:xfrm>
          <a:prstGeom prst="ellipse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>
              <a:latin typeface="+mn-lt"/>
              <a:cs typeface="+mn-ea"/>
              <a:sym typeface="+mn-lt"/>
            </a:endParaRPr>
          </a:p>
        </p:txBody>
      </p:sp>
      <p:grpSp>
        <p:nvGrpSpPr>
          <p:cNvPr id="27" name="Group 98">
            <a:extLst>
              <a:ext uri="{FF2B5EF4-FFF2-40B4-BE49-F238E27FC236}">
                <a16:creationId xmlns:a16="http://schemas.microsoft.com/office/drawing/2014/main" id="{0B72ABC6-593F-41F1-982D-DEACBB17D04B}"/>
              </a:ext>
            </a:extLst>
          </p:cNvPr>
          <p:cNvGrpSpPr/>
          <p:nvPr/>
        </p:nvGrpSpPr>
        <p:grpSpPr>
          <a:xfrm>
            <a:off x="6655562" y="2983801"/>
            <a:ext cx="255588" cy="361950"/>
            <a:chOff x="2730500" y="3248025"/>
            <a:chExt cx="255588" cy="361950"/>
          </a:xfrm>
          <a:solidFill>
            <a:schemeClr val="bg1"/>
          </a:solidFill>
        </p:grpSpPr>
        <p:sp>
          <p:nvSpPr>
            <p:cNvPr id="28" name="Freeform 859">
              <a:extLst>
                <a:ext uri="{FF2B5EF4-FFF2-40B4-BE49-F238E27FC236}">
                  <a16:creationId xmlns:a16="http://schemas.microsoft.com/office/drawing/2014/main" id="{F4835B76-1684-4691-9287-421FF4D76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0500" y="3248025"/>
              <a:ext cx="255588" cy="361950"/>
            </a:xfrm>
            <a:custGeom>
              <a:avLst/>
              <a:gdLst>
                <a:gd name="T0" fmla="*/ 66 w 68"/>
                <a:gd name="T1" fmla="*/ 96 h 96"/>
                <a:gd name="T2" fmla="*/ 65 w 68"/>
                <a:gd name="T3" fmla="*/ 95 h 96"/>
                <a:gd name="T4" fmla="*/ 58 w 68"/>
                <a:gd name="T5" fmla="*/ 89 h 96"/>
                <a:gd name="T6" fmla="*/ 51 w 68"/>
                <a:gd name="T7" fmla="*/ 95 h 96"/>
                <a:gd name="T8" fmla="*/ 49 w 68"/>
                <a:gd name="T9" fmla="*/ 95 h 96"/>
                <a:gd name="T10" fmla="*/ 42 w 68"/>
                <a:gd name="T11" fmla="*/ 89 h 96"/>
                <a:gd name="T12" fmla="*/ 35 w 68"/>
                <a:gd name="T13" fmla="*/ 95 h 96"/>
                <a:gd name="T14" fmla="*/ 33 w 68"/>
                <a:gd name="T15" fmla="*/ 95 h 96"/>
                <a:gd name="T16" fmla="*/ 26 w 68"/>
                <a:gd name="T17" fmla="*/ 89 h 96"/>
                <a:gd name="T18" fmla="*/ 19 w 68"/>
                <a:gd name="T19" fmla="*/ 95 h 96"/>
                <a:gd name="T20" fmla="*/ 17 w 68"/>
                <a:gd name="T21" fmla="*/ 95 h 96"/>
                <a:gd name="T22" fmla="*/ 10 w 68"/>
                <a:gd name="T23" fmla="*/ 89 h 96"/>
                <a:gd name="T24" fmla="*/ 3 w 68"/>
                <a:gd name="T25" fmla="*/ 95 h 96"/>
                <a:gd name="T26" fmla="*/ 1 w 68"/>
                <a:gd name="T27" fmla="*/ 96 h 96"/>
                <a:gd name="T28" fmla="*/ 0 w 68"/>
                <a:gd name="T29" fmla="*/ 94 h 96"/>
                <a:gd name="T30" fmla="*/ 0 w 68"/>
                <a:gd name="T31" fmla="*/ 2 h 96"/>
                <a:gd name="T32" fmla="*/ 1 w 68"/>
                <a:gd name="T33" fmla="*/ 0 h 96"/>
                <a:gd name="T34" fmla="*/ 3 w 68"/>
                <a:gd name="T35" fmla="*/ 1 h 96"/>
                <a:gd name="T36" fmla="*/ 10 w 68"/>
                <a:gd name="T37" fmla="*/ 7 h 96"/>
                <a:gd name="T38" fmla="*/ 17 w 68"/>
                <a:gd name="T39" fmla="*/ 1 h 96"/>
                <a:gd name="T40" fmla="*/ 19 w 68"/>
                <a:gd name="T41" fmla="*/ 1 h 96"/>
                <a:gd name="T42" fmla="*/ 26 w 68"/>
                <a:gd name="T43" fmla="*/ 7 h 96"/>
                <a:gd name="T44" fmla="*/ 33 w 68"/>
                <a:gd name="T45" fmla="*/ 1 h 96"/>
                <a:gd name="T46" fmla="*/ 35 w 68"/>
                <a:gd name="T47" fmla="*/ 1 h 96"/>
                <a:gd name="T48" fmla="*/ 42 w 68"/>
                <a:gd name="T49" fmla="*/ 7 h 96"/>
                <a:gd name="T50" fmla="*/ 49 w 68"/>
                <a:gd name="T51" fmla="*/ 1 h 96"/>
                <a:gd name="T52" fmla="*/ 51 w 68"/>
                <a:gd name="T53" fmla="*/ 1 h 96"/>
                <a:gd name="T54" fmla="*/ 58 w 68"/>
                <a:gd name="T55" fmla="*/ 7 h 96"/>
                <a:gd name="T56" fmla="*/ 65 w 68"/>
                <a:gd name="T57" fmla="*/ 1 h 96"/>
                <a:gd name="T58" fmla="*/ 67 w 68"/>
                <a:gd name="T59" fmla="*/ 0 h 96"/>
                <a:gd name="T60" fmla="*/ 68 w 68"/>
                <a:gd name="T61" fmla="*/ 2 h 96"/>
                <a:gd name="T62" fmla="*/ 68 w 68"/>
                <a:gd name="T63" fmla="*/ 94 h 96"/>
                <a:gd name="T64" fmla="*/ 67 w 68"/>
                <a:gd name="T65" fmla="*/ 96 h 96"/>
                <a:gd name="T66" fmla="*/ 66 w 68"/>
                <a:gd name="T67" fmla="*/ 96 h 96"/>
                <a:gd name="T68" fmla="*/ 42 w 68"/>
                <a:gd name="T69" fmla="*/ 84 h 96"/>
                <a:gd name="T70" fmla="*/ 43 w 68"/>
                <a:gd name="T71" fmla="*/ 85 h 96"/>
                <a:gd name="T72" fmla="*/ 50 w 68"/>
                <a:gd name="T73" fmla="*/ 91 h 96"/>
                <a:gd name="T74" fmla="*/ 57 w 68"/>
                <a:gd name="T75" fmla="*/ 85 h 96"/>
                <a:gd name="T76" fmla="*/ 59 w 68"/>
                <a:gd name="T77" fmla="*/ 85 h 96"/>
                <a:gd name="T78" fmla="*/ 64 w 68"/>
                <a:gd name="T79" fmla="*/ 89 h 96"/>
                <a:gd name="T80" fmla="*/ 64 w 68"/>
                <a:gd name="T81" fmla="*/ 7 h 96"/>
                <a:gd name="T82" fmla="*/ 59 w 68"/>
                <a:gd name="T83" fmla="*/ 11 h 96"/>
                <a:gd name="T84" fmla="*/ 57 w 68"/>
                <a:gd name="T85" fmla="*/ 11 h 96"/>
                <a:gd name="T86" fmla="*/ 50 w 68"/>
                <a:gd name="T87" fmla="*/ 5 h 96"/>
                <a:gd name="T88" fmla="*/ 43 w 68"/>
                <a:gd name="T89" fmla="*/ 11 h 96"/>
                <a:gd name="T90" fmla="*/ 41 w 68"/>
                <a:gd name="T91" fmla="*/ 11 h 96"/>
                <a:gd name="T92" fmla="*/ 34 w 68"/>
                <a:gd name="T93" fmla="*/ 5 h 96"/>
                <a:gd name="T94" fmla="*/ 27 w 68"/>
                <a:gd name="T95" fmla="*/ 11 h 96"/>
                <a:gd name="T96" fmla="*/ 25 w 68"/>
                <a:gd name="T97" fmla="*/ 11 h 96"/>
                <a:gd name="T98" fmla="*/ 18 w 68"/>
                <a:gd name="T99" fmla="*/ 5 h 96"/>
                <a:gd name="T100" fmla="*/ 11 w 68"/>
                <a:gd name="T101" fmla="*/ 11 h 96"/>
                <a:gd name="T102" fmla="*/ 9 w 68"/>
                <a:gd name="T103" fmla="*/ 11 h 96"/>
                <a:gd name="T104" fmla="*/ 4 w 68"/>
                <a:gd name="T105" fmla="*/ 7 h 96"/>
                <a:gd name="T106" fmla="*/ 4 w 68"/>
                <a:gd name="T107" fmla="*/ 89 h 96"/>
                <a:gd name="T108" fmla="*/ 9 w 68"/>
                <a:gd name="T109" fmla="*/ 85 h 96"/>
                <a:gd name="T110" fmla="*/ 11 w 68"/>
                <a:gd name="T111" fmla="*/ 85 h 96"/>
                <a:gd name="T112" fmla="*/ 18 w 68"/>
                <a:gd name="T113" fmla="*/ 91 h 96"/>
                <a:gd name="T114" fmla="*/ 25 w 68"/>
                <a:gd name="T115" fmla="*/ 85 h 96"/>
                <a:gd name="T116" fmla="*/ 27 w 68"/>
                <a:gd name="T117" fmla="*/ 85 h 96"/>
                <a:gd name="T118" fmla="*/ 34 w 68"/>
                <a:gd name="T119" fmla="*/ 91 h 96"/>
                <a:gd name="T120" fmla="*/ 41 w 68"/>
                <a:gd name="T121" fmla="*/ 85 h 96"/>
                <a:gd name="T122" fmla="*/ 42 w 68"/>
                <a:gd name="T123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8" h="96">
                  <a:moveTo>
                    <a:pt x="66" y="96"/>
                  </a:moveTo>
                  <a:cubicBezTo>
                    <a:pt x="65" y="96"/>
                    <a:pt x="65" y="96"/>
                    <a:pt x="65" y="95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6"/>
                    <a:pt x="49" y="96"/>
                    <a:pt x="49" y="95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35" y="95"/>
                    <a:pt x="35" y="95"/>
                    <a:pt x="35" y="95"/>
                  </a:cubicBezTo>
                  <a:cubicBezTo>
                    <a:pt x="35" y="96"/>
                    <a:pt x="33" y="96"/>
                    <a:pt x="33" y="95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6"/>
                    <a:pt x="17" y="96"/>
                    <a:pt x="17" y="95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3" y="96"/>
                    <a:pt x="2" y="96"/>
                    <a:pt x="1" y="96"/>
                  </a:cubicBezTo>
                  <a:cubicBezTo>
                    <a:pt x="0" y="96"/>
                    <a:pt x="0" y="95"/>
                    <a:pt x="0" y="9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0"/>
                    <a:pt x="19" y="0"/>
                    <a:pt x="19" y="1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0"/>
                    <a:pt x="35" y="0"/>
                    <a:pt x="35" y="1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0"/>
                    <a:pt x="51" y="0"/>
                    <a:pt x="51" y="1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5" y="0"/>
                    <a:pt x="66" y="0"/>
                    <a:pt x="67" y="0"/>
                  </a:cubicBezTo>
                  <a:cubicBezTo>
                    <a:pt x="68" y="0"/>
                    <a:pt x="68" y="1"/>
                    <a:pt x="68" y="2"/>
                  </a:cubicBezTo>
                  <a:cubicBezTo>
                    <a:pt x="68" y="94"/>
                    <a:pt x="68" y="94"/>
                    <a:pt x="68" y="94"/>
                  </a:cubicBezTo>
                  <a:cubicBezTo>
                    <a:pt x="68" y="95"/>
                    <a:pt x="68" y="96"/>
                    <a:pt x="67" y="96"/>
                  </a:cubicBezTo>
                  <a:cubicBezTo>
                    <a:pt x="67" y="96"/>
                    <a:pt x="66" y="96"/>
                    <a:pt x="66" y="96"/>
                  </a:cubicBezTo>
                  <a:close/>
                  <a:moveTo>
                    <a:pt x="42" y="84"/>
                  </a:moveTo>
                  <a:cubicBezTo>
                    <a:pt x="43" y="84"/>
                    <a:pt x="43" y="84"/>
                    <a:pt x="43" y="85"/>
                  </a:cubicBezTo>
                  <a:cubicBezTo>
                    <a:pt x="50" y="91"/>
                    <a:pt x="50" y="91"/>
                    <a:pt x="50" y="91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7" y="84"/>
                    <a:pt x="59" y="84"/>
                    <a:pt x="59" y="85"/>
                  </a:cubicBezTo>
                  <a:cubicBezTo>
                    <a:pt x="64" y="89"/>
                    <a:pt x="64" y="89"/>
                    <a:pt x="64" y="89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2"/>
                    <a:pt x="57" y="12"/>
                    <a:pt x="57" y="11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2"/>
                    <a:pt x="41" y="12"/>
                    <a:pt x="41" y="11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2"/>
                    <a:pt x="25" y="12"/>
                    <a:pt x="25" y="11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2"/>
                    <a:pt x="9" y="12"/>
                    <a:pt x="9" y="11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9" y="84"/>
                    <a:pt x="11" y="84"/>
                    <a:pt x="11" y="85"/>
                  </a:cubicBezTo>
                  <a:cubicBezTo>
                    <a:pt x="18" y="91"/>
                    <a:pt x="18" y="91"/>
                    <a:pt x="18" y="91"/>
                  </a:cubicBezTo>
                  <a:cubicBezTo>
                    <a:pt x="25" y="85"/>
                    <a:pt x="25" y="85"/>
                    <a:pt x="25" y="85"/>
                  </a:cubicBezTo>
                  <a:cubicBezTo>
                    <a:pt x="25" y="84"/>
                    <a:pt x="27" y="84"/>
                    <a:pt x="27" y="85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4"/>
                    <a:pt x="41" y="84"/>
                    <a:pt x="42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9" name="Freeform 860">
              <a:extLst>
                <a:ext uri="{FF2B5EF4-FFF2-40B4-BE49-F238E27FC236}">
                  <a16:creationId xmlns:a16="http://schemas.microsoft.com/office/drawing/2014/main" id="{931EB86B-D55B-4120-A328-504190437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3338513"/>
              <a:ext cx="136525" cy="15875"/>
            </a:xfrm>
            <a:custGeom>
              <a:avLst/>
              <a:gdLst>
                <a:gd name="T0" fmla="*/ 34 w 36"/>
                <a:gd name="T1" fmla="*/ 4 h 4"/>
                <a:gd name="T2" fmla="*/ 2 w 36"/>
                <a:gd name="T3" fmla="*/ 4 h 4"/>
                <a:gd name="T4" fmla="*/ 0 w 36"/>
                <a:gd name="T5" fmla="*/ 2 h 4"/>
                <a:gd name="T6" fmla="*/ 2 w 36"/>
                <a:gd name="T7" fmla="*/ 0 h 4"/>
                <a:gd name="T8" fmla="*/ 34 w 36"/>
                <a:gd name="T9" fmla="*/ 0 h 4"/>
                <a:gd name="T10" fmla="*/ 36 w 36"/>
                <a:gd name="T11" fmla="*/ 2 h 4"/>
                <a:gd name="T12" fmla="*/ 34 w 3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4">
                  <a:moveTo>
                    <a:pt x="3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1"/>
                    <a:pt x="36" y="2"/>
                  </a:cubicBezTo>
                  <a:cubicBezTo>
                    <a:pt x="36" y="3"/>
                    <a:pt x="35" y="4"/>
                    <a:pt x="3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0" name="Freeform 861">
              <a:extLst>
                <a:ext uri="{FF2B5EF4-FFF2-40B4-BE49-F238E27FC236}">
                  <a16:creationId xmlns:a16="http://schemas.microsoft.com/office/drawing/2014/main" id="{C9D125AF-8339-4A59-BF1D-5F8D194ED0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3384550"/>
              <a:ext cx="76200" cy="14288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1" name="Freeform 862">
              <a:extLst>
                <a:ext uri="{FF2B5EF4-FFF2-40B4-BE49-F238E27FC236}">
                  <a16:creationId xmlns:a16="http://schemas.microsoft.com/office/drawing/2014/main" id="{9802C651-EE25-4DCE-A6BC-54D807104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3429000"/>
              <a:ext cx="76200" cy="15875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2" name="Freeform 863">
              <a:extLst>
                <a:ext uri="{FF2B5EF4-FFF2-40B4-BE49-F238E27FC236}">
                  <a16:creationId xmlns:a16="http://schemas.microsoft.com/office/drawing/2014/main" id="{CA2CB118-2CB0-4BE0-91CC-D3FDB056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34734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3" name="Freeform 864">
              <a:extLst>
                <a:ext uri="{FF2B5EF4-FFF2-40B4-BE49-F238E27FC236}">
                  <a16:creationId xmlns:a16="http://schemas.microsoft.com/office/drawing/2014/main" id="{9287ABE6-DD99-427B-8600-65BCE21A0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3538" y="3503613"/>
              <a:ext cx="14288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4" name="Freeform 865">
              <a:extLst>
                <a:ext uri="{FF2B5EF4-FFF2-40B4-BE49-F238E27FC236}">
                  <a16:creationId xmlns:a16="http://schemas.microsoft.com/office/drawing/2014/main" id="{E69D6E62-F898-4301-BA79-C64CB4A4F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3538" y="3398838"/>
              <a:ext cx="14288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5" name="Freeform 866">
              <a:extLst>
                <a:ext uri="{FF2B5EF4-FFF2-40B4-BE49-F238E27FC236}">
                  <a16:creationId xmlns:a16="http://schemas.microsoft.com/office/drawing/2014/main" id="{06CF9031-C9AB-4419-A125-D4E1FC8AB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1313" y="3414713"/>
              <a:ext cx="58738" cy="104775"/>
            </a:xfrm>
            <a:custGeom>
              <a:avLst/>
              <a:gdLst>
                <a:gd name="T0" fmla="*/ 8 w 16"/>
                <a:gd name="T1" fmla="*/ 28 h 28"/>
                <a:gd name="T2" fmla="*/ 0 w 16"/>
                <a:gd name="T3" fmla="*/ 20 h 28"/>
                <a:gd name="T4" fmla="*/ 2 w 16"/>
                <a:gd name="T5" fmla="*/ 18 h 28"/>
                <a:gd name="T6" fmla="*/ 4 w 16"/>
                <a:gd name="T7" fmla="*/ 20 h 28"/>
                <a:gd name="T8" fmla="*/ 8 w 16"/>
                <a:gd name="T9" fmla="*/ 24 h 28"/>
                <a:gd name="T10" fmla="*/ 12 w 16"/>
                <a:gd name="T11" fmla="*/ 20 h 28"/>
                <a:gd name="T12" fmla="*/ 8 w 16"/>
                <a:gd name="T13" fmla="*/ 16 h 28"/>
                <a:gd name="T14" fmla="*/ 0 w 16"/>
                <a:gd name="T15" fmla="*/ 8 h 28"/>
                <a:gd name="T16" fmla="*/ 8 w 16"/>
                <a:gd name="T17" fmla="*/ 0 h 28"/>
                <a:gd name="T18" fmla="*/ 16 w 16"/>
                <a:gd name="T19" fmla="*/ 8 h 28"/>
                <a:gd name="T20" fmla="*/ 14 w 16"/>
                <a:gd name="T21" fmla="*/ 10 h 28"/>
                <a:gd name="T22" fmla="*/ 12 w 16"/>
                <a:gd name="T23" fmla="*/ 8 h 28"/>
                <a:gd name="T24" fmla="*/ 8 w 16"/>
                <a:gd name="T25" fmla="*/ 4 h 28"/>
                <a:gd name="T26" fmla="*/ 4 w 16"/>
                <a:gd name="T27" fmla="*/ 8 h 28"/>
                <a:gd name="T28" fmla="*/ 8 w 16"/>
                <a:gd name="T29" fmla="*/ 12 h 28"/>
                <a:gd name="T30" fmla="*/ 16 w 16"/>
                <a:gd name="T31" fmla="*/ 20 h 28"/>
                <a:gd name="T32" fmla="*/ 8 w 16"/>
                <a:gd name="T3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28">
                  <a:moveTo>
                    <a:pt x="8" y="28"/>
                  </a:moveTo>
                  <a:cubicBezTo>
                    <a:pt x="4" y="28"/>
                    <a:pt x="0" y="24"/>
                    <a:pt x="0" y="20"/>
                  </a:cubicBezTo>
                  <a:cubicBezTo>
                    <a:pt x="0" y="19"/>
                    <a:pt x="1" y="18"/>
                    <a:pt x="2" y="18"/>
                  </a:cubicBezTo>
                  <a:cubicBezTo>
                    <a:pt x="3" y="18"/>
                    <a:pt x="4" y="19"/>
                    <a:pt x="4" y="20"/>
                  </a:cubicBezTo>
                  <a:cubicBezTo>
                    <a:pt x="4" y="22"/>
                    <a:pt x="6" y="24"/>
                    <a:pt x="8" y="24"/>
                  </a:cubicBezTo>
                  <a:cubicBezTo>
                    <a:pt x="10" y="24"/>
                    <a:pt x="12" y="22"/>
                    <a:pt x="12" y="20"/>
                  </a:cubicBezTo>
                  <a:cubicBezTo>
                    <a:pt x="12" y="18"/>
                    <a:pt x="10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9"/>
                    <a:pt x="15" y="10"/>
                    <a:pt x="14" y="10"/>
                  </a:cubicBezTo>
                  <a:cubicBezTo>
                    <a:pt x="13" y="10"/>
                    <a:pt x="12" y="9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2" y="12"/>
                    <a:pt x="16" y="16"/>
                    <a:pt x="16" y="20"/>
                  </a:cubicBezTo>
                  <a:cubicBezTo>
                    <a:pt x="16" y="24"/>
                    <a:pt x="12" y="28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36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00D2D695-F6A6-47BA-B4FD-9A6018EA139B}"/>
              </a:ext>
            </a:extLst>
          </p:cNvPr>
          <p:cNvSpPr txBox="1"/>
          <p:nvPr/>
        </p:nvSpPr>
        <p:spPr>
          <a:xfrm>
            <a:off x="7336565" y="3857844"/>
            <a:ext cx="3033254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37" name="TextBox 71">
            <a:extLst>
              <a:ext uri="{FF2B5EF4-FFF2-40B4-BE49-F238E27FC236}">
                <a16:creationId xmlns:a16="http://schemas.microsoft.com/office/drawing/2014/main" id="{B25B5DF0-6398-45C8-862B-3D6D55924513}"/>
              </a:ext>
            </a:extLst>
          </p:cNvPr>
          <p:cNvSpPr txBox="1"/>
          <p:nvPr/>
        </p:nvSpPr>
        <p:spPr>
          <a:xfrm>
            <a:off x="6430733" y="3897101"/>
            <a:ext cx="689084" cy="689084"/>
          </a:xfrm>
          <a:prstGeom prst="ellipse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>
              <a:latin typeface="+mn-lt"/>
              <a:cs typeface="+mn-ea"/>
              <a:sym typeface="+mn-lt"/>
            </a:endParaRPr>
          </a:p>
        </p:txBody>
      </p:sp>
      <p:grpSp>
        <p:nvGrpSpPr>
          <p:cNvPr id="38" name="Group 98">
            <a:extLst>
              <a:ext uri="{FF2B5EF4-FFF2-40B4-BE49-F238E27FC236}">
                <a16:creationId xmlns:a16="http://schemas.microsoft.com/office/drawing/2014/main" id="{7E943067-1A09-4BDD-8D96-55722E5E0CE0}"/>
              </a:ext>
            </a:extLst>
          </p:cNvPr>
          <p:cNvGrpSpPr/>
          <p:nvPr/>
        </p:nvGrpSpPr>
        <p:grpSpPr>
          <a:xfrm>
            <a:off x="6647481" y="4060668"/>
            <a:ext cx="255588" cy="361950"/>
            <a:chOff x="2730500" y="3248025"/>
            <a:chExt cx="255588" cy="361950"/>
          </a:xfrm>
          <a:solidFill>
            <a:schemeClr val="bg1"/>
          </a:solidFill>
        </p:grpSpPr>
        <p:sp>
          <p:nvSpPr>
            <p:cNvPr id="39" name="Freeform 859">
              <a:extLst>
                <a:ext uri="{FF2B5EF4-FFF2-40B4-BE49-F238E27FC236}">
                  <a16:creationId xmlns:a16="http://schemas.microsoft.com/office/drawing/2014/main" id="{6FE233C7-962E-4554-B615-266DD51562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0500" y="3248025"/>
              <a:ext cx="255588" cy="361950"/>
            </a:xfrm>
            <a:custGeom>
              <a:avLst/>
              <a:gdLst>
                <a:gd name="T0" fmla="*/ 66 w 68"/>
                <a:gd name="T1" fmla="*/ 96 h 96"/>
                <a:gd name="T2" fmla="*/ 65 w 68"/>
                <a:gd name="T3" fmla="*/ 95 h 96"/>
                <a:gd name="T4" fmla="*/ 58 w 68"/>
                <a:gd name="T5" fmla="*/ 89 h 96"/>
                <a:gd name="T6" fmla="*/ 51 w 68"/>
                <a:gd name="T7" fmla="*/ 95 h 96"/>
                <a:gd name="T8" fmla="*/ 49 w 68"/>
                <a:gd name="T9" fmla="*/ 95 h 96"/>
                <a:gd name="T10" fmla="*/ 42 w 68"/>
                <a:gd name="T11" fmla="*/ 89 h 96"/>
                <a:gd name="T12" fmla="*/ 35 w 68"/>
                <a:gd name="T13" fmla="*/ 95 h 96"/>
                <a:gd name="T14" fmla="*/ 33 w 68"/>
                <a:gd name="T15" fmla="*/ 95 h 96"/>
                <a:gd name="T16" fmla="*/ 26 w 68"/>
                <a:gd name="T17" fmla="*/ 89 h 96"/>
                <a:gd name="T18" fmla="*/ 19 w 68"/>
                <a:gd name="T19" fmla="*/ 95 h 96"/>
                <a:gd name="T20" fmla="*/ 17 w 68"/>
                <a:gd name="T21" fmla="*/ 95 h 96"/>
                <a:gd name="T22" fmla="*/ 10 w 68"/>
                <a:gd name="T23" fmla="*/ 89 h 96"/>
                <a:gd name="T24" fmla="*/ 3 w 68"/>
                <a:gd name="T25" fmla="*/ 95 h 96"/>
                <a:gd name="T26" fmla="*/ 1 w 68"/>
                <a:gd name="T27" fmla="*/ 96 h 96"/>
                <a:gd name="T28" fmla="*/ 0 w 68"/>
                <a:gd name="T29" fmla="*/ 94 h 96"/>
                <a:gd name="T30" fmla="*/ 0 w 68"/>
                <a:gd name="T31" fmla="*/ 2 h 96"/>
                <a:gd name="T32" fmla="*/ 1 w 68"/>
                <a:gd name="T33" fmla="*/ 0 h 96"/>
                <a:gd name="T34" fmla="*/ 3 w 68"/>
                <a:gd name="T35" fmla="*/ 1 h 96"/>
                <a:gd name="T36" fmla="*/ 10 w 68"/>
                <a:gd name="T37" fmla="*/ 7 h 96"/>
                <a:gd name="T38" fmla="*/ 17 w 68"/>
                <a:gd name="T39" fmla="*/ 1 h 96"/>
                <a:gd name="T40" fmla="*/ 19 w 68"/>
                <a:gd name="T41" fmla="*/ 1 h 96"/>
                <a:gd name="T42" fmla="*/ 26 w 68"/>
                <a:gd name="T43" fmla="*/ 7 h 96"/>
                <a:gd name="T44" fmla="*/ 33 w 68"/>
                <a:gd name="T45" fmla="*/ 1 h 96"/>
                <a:gd name="T46" fmla="*/ 35 w 68"/>
                <a:gd name="T47" fmla="*/ 1 h 96"/>
                <a:gd name="T48" fmla="*/ 42 w 68"/>
                <a:gd name="T49" fmla="*/ 7 h 96"/>
                <a:gd name="T50" fmla="*/ 49 w 68"/>
                <a:gd name="T51" fmla="*/ 1 h 96"/>
                <a:gd name="T52" fmla="*/ 51 w 68"/>
                <a:gd name="T53" fmla="*/ 1 h 96"/>
                <a:gd name="T54" fmla="*/ 58 w 68"/>
                <a:gd name="T55" fmla="*/ 7 h 96"/>
                <a:gd name="T56" fmla="*/ 65 w 68"/>
                <a:gd name="T57" fmla="*/ 1 h 96"/>
                <a:gd name="T58" fmla="*/ 67 w 68"/>
                <a:gd name="T59" fmla="*/ 0 h 96"/>
                <a:gd name="T60" fmla="*/ 68 w 68"/>
                <a:gd name="T61" fmla="*/ 2 h 96"/>
                <a:gd name="T62" fmla="*/ 68 w 68"/>
                <a:gd name="T63" fmla="*/ 94 h 96"/>
                <a:gd name="T64" fmla="*/ 67 w 68"/>
                <a:gd name="T65" fmla="*/ 96 h 96"/>
                <a:gd name="T66" fmla="*/ 66 w 68"/>
                <a:gd name="T67" fmla="*/ 96 h 96"/>
                <a:gd name="T68" fmla="*/ 42 w 68"/>
                <a:gd name="T69" fmla="*/ 84 h 96"/>
                <a:gd name="T70" fmla="*/ 43 w 68"/>
                <a:gd name="T71" fmla="*/ 85 h 96"/>
                <a:gd name="T72" fmla="*/ 50 w 68"/>
                <a:gd name="T73" fmla="*/ 91 h 96"/>
                <a:gd name="T74" fmla="*/ 57 w 68"/>
                <a:gd name="T75" fmla="*/ 85 h 96"/>
                <a:gd name="T76" fmla="*/ 59 w 68"/>
                <a:gd name="T77" fmla="*/ 85 h 96"/>
                <a:gd name="T78" fmla="*/ 64 w 68"/>
                <a:gd name="T79" fmla="*/ 89 h 96"/>
                <a:gd name="T80" fmla="*/ 64 w 68"/>
                <a:gd name="T81" fmla="*/ 7 h 96"/>
                <a:gd name="T82" fmla="*/ 59 w 68"/>
                <a:gd name="T83" fmla="*/ 11 h 96"/>
                <a:gd name="T84" fmla="*/ 57 w 68"/>
                <a:gd name="T85" fmla="*/ 11 h 96"/>
                <a:gd name="T86" fmla="*/ 50 w 68"/>
                <a:gd name="T87" fmla="*/ 5 h 96"/>
                <a:gd name="T88" fmla="*/ 43 w 68"/>
                <a:gd name="T89" fmla="*/ 11 h 96"/>
                <a:gd name="T90" fmla="*/ 41 w 68"/>
                <a:gd name="T91" fmla="*/ 11 h 96"/>
                <a:gd name="T92" fmla="*/ 34 w 68"/>
                <a:gd name="T93" fmla="*/ 5 h 96"/>
                <a:gd name="T94" fmla="*/ 27 w 68"/>
                <a:gd name="T95" fmla="*/ 11 h 96"/>
                <a:gd name="T96" fmla="*/ 25 w 68"/>
                <a:gd name="T97" fmla="*/ 11 h 96"/>
                <a:gd name="T98" fmla="*/ 18 w 68"/>
                <a:gd name="T99" fmla="*/ 5 h 96"/>
                <a:gd name="T100" fmla="*/ 11 w 68"/>
                <a:gd name="T101" fmla="*/ 11 h 96"/>
                <a:gd name="T102" fmla="*/ 9 w 68"/>
                <a:gd name="T103" fmla="*/ 11 h 96"/>
                <a:gd name="T104" fmla="*/ 4 w 68"/>
                <a:gd name="T105" fmla="*/ 7 h 96"/>
                <a:gd name="T106" fmla="*/ 4 w 68"/>
                <a:gd name="T107" fmla="*/ 89 h 96"/>
                <a:gd name="T108" fmla="*/ 9 w 68"/>
                <a:gd name="T109" fmla="*/ 85 h 96"/>
                <a:gd name="T110" fmla="*/ 11 w 68"/>
                <a:gd name="T111" fmla="*/ 85 h 96"/>
                <a:gd name="T112" fmla="*/ 18 w 68"/>
                <a:gd name="T113" fmla="*/ 91 h 96"/>
                <a:gd name="T114" fmla="*/ 25 w 68"/>
                <a:gd name="T115" fmla="*/ 85 h 96"/>
                <a:gd name="T116" fmla="*/ 27 w 68"/>
                <a:gd name="T117" fmla="*/ 85 h 96"/>
                <a:gd name="T118" fmla="*/ 34 w 68"/>
                <a:gd name="T119" fmla="*/ 91 h 96"/>
                <a:gd name="T120" fmla="*/ 41 w 68"/>
                <a:gd name="T121" fmla="*/ 85 h 96"/>
                <a:gd name="T122" fmla="*/ 42 w 68"/>
                <a:gd name="T123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8" h="96">
                  <a:moveTo>
                    <a:pt x="66" y="96"/>
                  </a:moveTo>
                  <a:cubicBezTo>
                    <a:pt x="65" y="96"/>
                    <a:pt x="65" y="96"/>
                    <a:pt x="65" y="95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6"/>
                    <a:pt x="49" y="96"/>
                    <a:pt x="49" y="95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35" y="95"/>
                    <a:pt x="35" y="95"/>
                    <a:pt x="35" y="95"/>
                  </a:cubicBezTo>
                  <a:cubicBezTo>
                    <a:pt x="35" y="96"/>
                    <a:pt x="33" y="96"/>
                    <a:pt x="33" y="95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6"/>
                    <a:pt x="17" y="96"/>
                    <a:pt x="17" y="95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3" y="96"/>
                    <a:pt x="2" y="96"/>
                    <a:pt x="1" y="96"/>
                  </a:cubicBezTo>
                  <a:cubicBezTo>
                    <a:pt x="0" y="96"/>
                    <a:pt x="0" y="95"/>
                    <a:pt x="0" y="9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0"/>
                    <a:pt x="19" y="0"/>
                    <a:pt x="19" y="1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0"/>
                    <a:pt x="35" y="0"/>
                    <a:pt x="35" y="1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0"/>
                    <a:pt x="51" y="0"/>
                    <a:pt x="51" y="1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5" y="0"/>
                    <a:pt x="66" y="0"/>
                    <a:pt x="67" y="0"/>
                  </a:cubicBezTo>
                  <a:cubicBezTo>
                    <a:pt x="68" y="0"/>
                    <a:pt x="68" y="1"/>
                    <a:pt x="68" y="2"/>
                  </a:cubicBezTo>
                  <a:cubicBezTo>
                    <a:pt x="68" y="94"/>
                    <a:pt x="68" y="94"/>
                    <a:pt x="68" y="94"/>
                  </a:cubicBezTo>
                  <a:cubicBezTo>
                    <a:pt x="68" y="95"/>
                    <a:pt x="68" y="96"/>
                    <a:pt x="67" y="96"/>
                  </a:cubicBezTo>
                  <a:cubicBezTo>
                    <a:pt x="67" y="96"/>
                    <a:pt x="66" y="96"/>
                    <a:pt x="66" y="96"/>
                  </a:cubicBezTo>
                  <a:close/>
                  <a:moveTo>
                    <a:pt x="42" y="84"/>
                  </a:moveTo>
                  <a:cubicBezTo>
                    <a:pt x="43" y="84"/>
                    <a:pt x="43" y="84"/>
                    <a:pt x="43" y="85"/>
                  </a:cubicBezTo>
                  <a:cubicBezTo>
                    <a:pt x="50" y="91"/>
                    <a:pt x="50" y="91"/>
                    <a:pt x="50" y="91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7" y="84"/>
                    <a:pt x="59" y="84"/>
                    <a:pt x="59" y="85"/>
                  </a:cubicBezTo>
                  <a:cubicBezTo>
                    <a:pt x="64" y="89"/>
                    <a:pt x="64" y="89"/>
                    <a:pt x="64" y="89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2"/>
                    <a:pt x="57" y="12"/>
                    <a:pt x="57" y="11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2"/>
                    <a:pt x="41" y="12"/>
                    <a:pt x="41" y="11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2"/>
                    <a:pt x="25" y="12"/>
                    <a:pt x="25" y="11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2"/>
                    <a:pt x="9" y="12"/>
                    <a:pt x="9" y="11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9" y="84"/>
                    <a:pt x="11" y="84"/>
                    <a:pt x="11" y="85"/>
                  </a:cubicBezTo>
                  <a:cubicBezTo>
                    <a:pt x="18" y="91"/>
                    <a:pt x="18" y="91"/>
                    <a:pt x="18" y="91"/>
                  </a:cubicBezTo>
                  <a:cubicBezTo>
                    <a:pt x="25" y="85"/>
                    <a:pt x="25" y="85"/>
                    <a:pt x="25" y="85"/>
                  </a:cubicBezTo>
                  <a:cubicBezTo>
                    <a:pt x="25" y="84"/>
                    <a:pt x="27" y="84"/>
                    <a:pt x="27" y="85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4"/>
                    <a:pt x="41" y="84"/>
                    <a:pt x="42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0" name="Freeform 860">
              <a:extLst>
                <a:ext uri="{FF2B5EF4-FFF2-40B4-BE49-F238E27FC236}">
                  <a16:creationId xmlns:a16="http://schemas.microsoft.com/office/drawing/2014/main" id="{C08724EE-B76B-4717-B902-10ACE9B1D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3338513"/>
              <a:ext cx="136525" cy="15875"/>
            </a:xfrm>
            <a:custGeom>
              <a:avLst/>
              <a:gdLst>
                <a:gd name="T0" fmla="*/ 34 w 36"/>
                <a:gd name="T1" fmla="*/ 4 h 4"/>
                <a:gd name="T2" fmla="*/ 2 w 36"/>
                <a:gd name="T3" fmla="*/ 4 h 4"/>
                <a:gd name="T4" fmla="*/ 0 w 36"/>
                <a:gd name="T5" fmla="*/ 2 h 4"/>
                <a:gd name="T6" fmla="*/ 2 w 36"/>
                <a:gd name="T7" fmla="*/ 0 h 4"/>
                <a:gd name="T8" fmla="*/ 34 w 36"/>
                <a:gd name="T9" fmla="*/ 0 h 4"/>
                <a:gd name="T10" fmla="*/ 36 w 36"/>
                <a:gd name="T11" fmla="*/ 2 h 4"/>
                <a:gd name="T12" fmla="*/ 34 w 3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4">
                  <a:moveTo>
                    <a:pt x="3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1"/>
                    <a:pt x="36" y="2"/>
                  </a:cubicBezTo>
                  <a:cubicBezTo>
                    <a:pt x="36" y="3"/>
                    <a:pt x="35" y="4"/>
                    <a:pt x="3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1" name="Freeform 861">
              <a:extLst>
                <a:ext uri="{FF2B5EF4-FFF2-40B4-BE49-F238E27FC236}">
                  <a16:creationId xmlns:a16="http://schemas.microsoft.com/office/drawing/2014/main" id="{8526B0A3-BB9C-4B6B-933C-BB58D739F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3384550"/>
              <a:ext cx="76200" cy="14288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2" name="Freeform 862">
              <a:extLst>
                <a:ext uri="{FF2B5EF4-FFF2-40B4-BE49-F238E27FC236}">
                  <a16:creationId xmlns:a16="http://schemas.microsoft.com/office/drawing/2014/main" id="{8C50CDCE-A02C-467C-900C-40A13E6204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3429000"/>
              <a:ext cx="76200" cy="15875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3" name="Freeform 863">
              <a:extLst>
                <a:ext uri="{FF2B5EF4-FFF2-40B4-BE49-F238E27FC236}">
                  <a16:creationId xmlns:a16="http://schemas.microsoft.com/office/drawing/2014/main" id="{4F703146-8281-418D-A0E1-55342DF55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34734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4" name="Freeform 864">
              <a:extLst>
                <a:ext uri="{FF2B5EF4-FFF2-40B4-BE49-F238E27FC236}">
                  <a16:creationId xmlns:a16="http://schemas.microsoft.com/office/drawing/2014/main" id="{C5279952-E63E-486D-8583-88FA4E379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3538" y="3503613"/>
              <a:ext cx="14288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5" name="Freeform 865">
              <a:extLst>
                <a:ext uri="{FF2B5EF4-FFF2-40B4-BE49-F238E27FC236}">
                  <a16:creationId xmlns:a16="http://schemas.microsoft.com/office/drawing/2014/main" id="{0DAB046F-A6BE-4EBF-B777-06AE500CE9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3538" y="3398838"/>
              <a:ext cx="14288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6" name="Freeform 866">
              <a:extLst>
                <a:ext uri="{FF2B5EF4-FFF2-40B4-BE49-F238E27FC236}">
                  <a16:creationId xmlns:a16="http://schemas.microsoft.com/office/drawing/2014/main" id="{EE4F5E5B-5E71-4389-BC3F-D9A31EF8D6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1313" y="3414713"/>
              <a:ext cx="58738" cy="104775"/>
            </a:xfrm>
            <a:custGeom>
              <a:avLst/>
              <a:gdLst>
                <a:gd name="T0" fmla="*/ 8 w 16"/>
                <a:gd name="T1" fmla="*/ 28 h 28"/>
                <a:gd name="T2" fmla="*/ 0 w 16"/>
                <a:gd name="T3" fmla="*/ 20 h 28"/>
                <a:gd name="T4" fmla="*/ 2 w 16"/>
                <a:gd name="T5" fmla="*/ 18 h 28"/>
                <a:gd name="T6" fmla="*/ 4 w 16"/>
                <a:gd name="T7" fmla="*/ 20 h 28"/>
                <a:gd name="T8" fmla="*/ 8 w 16"/>
                <a:gd name="T9" fmla="*/ 24 h 28"/>
                <a:gd name="T10" fmla="*/ 12 w 16"/>
                <a:gd name="T11" fmla="*/ 20 h 28"/>
                <a:gd name="T12" fmla="*/ 8 w 16"/>
                <a:gd name="T13" fmla="*/ 16 h 28"/>
                <a:gd name="T14" fmla="*/ 0 w 16"/>
                <a:gd name="T15" fmla="*/ 8 h 28"/>
                <a:gd name="T16" fmla="*/ 8 w 16"/>
                <a:gd name="T17" fmla="*/ 0 h 28"/>
                <a:gd name="T18" fmla="*/ 16 w 16"/>
                <a:gd name="T19" fmla="*/ 8 h 28"/>
                <a:gd name="T20" fmla="*/ 14 w 16"/>
                <a:gd name="T21" fmla="*/ 10 h 28"/>
                <a:gd name="T22" fmla="*/ 12 w 16"/>
                <a:gd name="T23" fmla="*/ 8 h 28"/>
                <a:gd name="T24" fmla="*/ 8 w 16"/>
                <a:gd name="T25" fmla="*/ 4 h 28"/>
                <a:gd name="T26" fmla="*/ 4 w 16"/>
                <a:gd name="T27" fmla="*/ 8 h 28"/>
                <a:gd name="T28" fmla="*/ 8 w 16"/>
                <a:gd name="T29" fmla="*/ 12 h 28"/>
                <a:gd name="T30" fmla="*/ 16 w 16"/>
                <a:gd name="T31" fmla="*/ 20 h 28"/>
                <a:gd name="T32" fmla="*/ 8 w 16"/>
                <a:gd name="T3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28">
                  <a:moveTo>
                    <a:pt x="8" y="28"/>
                  </a:moveTo>
                  <a:cubicBezTo>
                    <a:pt x="4" y="28"/>
                    <a:pt x="0" y="24"/>
                    <a:pt x="0" y="20"/>
                  </a:cubicBezTo>
                  <a:cubicBezTo>
                    <a:pt x="0" y="19"/>
                    <a:pt x="1" y="18"/>
                    <a:pt x="2" y="18"/>
                  </a:cubicBezTo>
                  <a:cubicBezTo>
                    <a:pt x="3" y="18"/>
                    <a:pt x="4" y="19"/>
                    <a:pt x="4" y="20"/>
                  </a:cubicBezTo>
                  <a:cubicBezTo>
                    <a:pt x="4" y="22"/>
                    <a:pt x="6" y="24"/>
                    <a:pt x="8" y="24"/>
                  </a:cubicBezTo>
                  <a:cubicBezTo>
                    <a:pt x="10" y="24"/>
                    <a:pt x="12" y="22"/>
                    <a:pt x="12" y="20"/>
                  </a:cubicBezTo>
                  <a:cubicBezTo>
                    <a:pt x="12" y="18"/>
                    <a:pt x="10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9"/>
                    <a:pt x="15" y="10"/>
                    <a:pt x="14" y="10"/>
                  </a:cubicBezTo>
                  <a:cubicBezTo>
                    <a:pt x="13" y="10"/>
                    <a:pt x="12" y="9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2" y="12"/>
                    <a:pt x="16" y="16"/>
                    <a:pt x="16" y="20"/>
                  </a:cubicBezTo>
                  <a:cubicBezTo>
                    <a:pt x="16" y="24"/>
                    <a:pt x="12" y="28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sp>
        <p:nvSpPr>
          <p:cNvPr id="4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FE92C325-BE62-4BA5-B092-26D1F0E64735}"/>
              </a:ext>
            </a:extLst>
          </p:cNvPr>
          <p:cNvSpPr txBox="1"/>
          <p:nvPr/>
        </p:nvSpPr>
        <p:spPr>
          <a:xfrm>
            <a:off x="7336565" y="4971100"/>
            <a:ext cx="3033254" cy="9759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4="http://schemas.microsoft.com/office/drawing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 sound, Synergistically utilize technically</a:t>
            </a:r>
          </a:p>
        </p:txBody>
      </p:sp>
      <p:sp>
        <p:nvSpPr>
          <p:cNvPr id="48" name="TextBox 71">
            <a:extLst>
              <a:ext uri="{FF2B5EF4-FFF2-40B4-BE49-F238E27FC236}">
                <a16:creationId xmlns:a16="http://schemas.microsoft.com/office/drawing/2014/main" id="{B6FDC44E-1958-4E7B-88F1-E959885B98BD}"/>
              </a:ext>
            </a:extLst>
          </p:cNvPr>
          <p:cNvSpPr txBox="1"/>
          <p:nvPr/>
        </p:nvSpPr>
        <p:spPr>
          <a:xfrm>
            <a:off x="6430733" y="5010357"/>
            <a:ext cx="689084" cy="689084"/>
          </a:xfrm>
          <a:prstGeom prst="ellipse">
            <a:avLst/>
          </a:pr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R="0" lvl="0" indent="-45720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>
              <a:latin typeface="+mn-lt"/>
              <a:cs typeface="+mn-ea"/>
              <a:sym typeface="+mn-lt"/>
            </a:endParaRPr>
          </a:p>
        </p:txBody>
      </p:sp>
      <p:grpSp>
        <p:nvGrpSpPr>
          <p:cNvPr id="49" name="Group 98">
            <a:extLst>
              <a:ext uri="{FF2B5EF4-FFF2-40B4-BE49-F238E27FC236}">
                <a16:creationId xmlns:a16="http://schemas.microsoft.com/office/drawing/2014/main" id="{6B343F7B-E30A-46AF-BE7D-7334DB0EDF47}"/>
              </a:ext>
            </a:extLst>
          </p:cNvPr>
          <p:cNvGrpSpPr/>
          <p:nvPr/>
        </p:nvGrpSpPr>
        <p:grpSpPr>
          <a:xfrm>
            <a:off x="6647481" y="5173924"/>
            <a:ext cx="255588" cy="361950"/>
            <a:chOff x="2730500" y="3248025"/>
            <a:chExt cx="255588" cy="361950"/>
          </a:xfrm>
          <a:solidFill>
            <a:schemeClr val="bg1"/>
          </a:solidFill>
        </p:grpSpPr>
        <p:sp>
          <p:nvSpPr>
            <p:cNvPr id="50" name="Freeform 859">
              <a:extLst>
                <a:ext uri="{FF2B5EF4-FFF2-40B4-BE49-F238E27FC236}">
                  <a16:creationId xmlns:a16="http://schemas.microsoft.com/office/drawing/2014/main" id="{5BE2D5EC-0F71-45F2-B395-CC7761FA8F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0500" y="3248025"/>
              <a:ext cx="255588" cy="361950"/>
            </a:xfrm>
            <a:custGeom>
              <a:avLst/>
              <a:gdLst>
                <a:gd name="T0" fmla="*/ 66 w 68"/>
                <a:gd name="T1" fmla="*/ 96 h 96"/>
                <a:gd name="T2" fmla="*/ 65 w 68"/>
                <a:gd name="T3" fmla="*/ 95 h 96"/>
                <a:gd name="T4" fmla="*/ 58 w 68"/>
                <a:gd name="T5" fmla="*/ 89 h 96"/>
                <a:gd name="T6" fmla="*/ 51 w 68"/>
                <a:gd name="T7" fmla="*/ 95 h 96"/>
                <a:gd name="T8" fmla="*/ 49 w 68"/>
                <a:gd name="T9" fmla="*/ 95 h 96"/>
                <a:gd name="T10" fmla="*/ 42 w 68"/>
                <a:gd name="T11" fmla="*/ 89 h 96"/>
                <a:gd name="T12" fmla="*/ 35 w 68"/>
                <a:gd name="T13" fmla="*/ 95 h 96"/>
                <a:gd name="T14" fmla="*/ 33 w 68"/>
                <a:gd name="T15" fmla="*/ 95 h 96"/>
                <a:gd name="T16" fmla="*/ 26 w 68"/>
                <a:gd name="T17" fmla="*/ 89 h 96"/>
                <a:gd name="T18" fmla="*/ 19 w 68"/>
                <a:gd name="T19" fmla="*/ 95 h 96"/>
                <a:gd name="T20" fmla="*/ 17 w 68"/>
                <a:gd name="T21" fmla="*/ 95 h 96"/>
                <a:gd name="T22" fmla="*/ 10 w 68"/>
                <a:gd name="T23" fmla="*/ 89 h 96"/>
                <a:gd name="T24" fmla="*/ 3 w 68"/>
                <a:gd name="T25" fmla="*/ 95 h 96"/>
                <a:gd name="T26" fmla="*/ 1 w 68"/>
                <a:gd name="T27" fmla="*/ 96 h 96"/>
                <a:gd name="T28" fmla="*/ 0 w 68"/>
                <a:gd name="T29" fmla="*/ 94 h 96"/>
                <a:gd name="T30" fmla="*/ 0 w 68"/>
                <a:gd name="T31" fmla="*/ 2 h 96"/>
                <a:gd name="T32" fmla="*/ 1 w 68"/>
                <a:gd name="T33" fmla="*/ 0 h 96"/>
                <a:gd name="T34" fmla="*/ 3 w 68"/>
                <a:gd name="T35" fmla="*/ 1 h 96"/>
                <a:gd name="T36" fmla="*/ 10 w 68"/>
                <a:gd name="T37" fmla="*/ 7 h 96"/>
                <a:gd name="T38" fmla="*/ 17 w 68"/>
                <a:gd name="T39" fmla="*/ 1 h 96"/>
                <a:gd name="T40" fmla="*/ 19 w 68"/>
                <a:gd name="T41" fmla="*/ 1 h 96"/>
                <a:gd name="T42" fmla="*/ 26 w 68"/>
                <a:gd name="T43" fmla="*/ 7 h 96"/>
                <a:gd name="T44" fmla="*/ 33 w 68"/>
                <a:gd name="T45" fmla="*/ 1 h 96"/>
                <a:gd name="T46" fmla="*/ 35 w 68"/>
                <a:gd name="T47" fmla="*/ 1 h 96"/>
                <a:gd name="T48" fmla="*/ 42 w 68"/>
                <a:gd name="T49" fmla="*/ 7 h 96"/>
                <a:gd name="T50" fmla="*/ 49 w 68"/>
                <a:gd name="T51" fmla="*/ 1 h 96"/>
                <a:gd name="T52" fmla="*/ 51 w 68"/>
                <a:gd name="T53" fmla="*/ 1 h 96"/>
                <a:gd name="T54" fmla="*/ 58 w 68"/>
                <a:gd name="T55" fmla="*/ 7 h 96"/>
                <a:gd name="T56" fmla="*/ 65 w 68"/>
                <a:gd name="T57" fmla="*/ 1 h 96"/>
                <a:gd name="T58" fmla="*/ 67 w 68"/>
                <a:gd name="T59" fmla="*/ 0 h 96"/>
                <a:gd name="T60" fmla="*/ 68 w 68"/>
                <a:gd name="T61" fmla="*/ 2 h 96"/>
                <a:gd name="T62" fmla="*/ 68 w 68"/>
                <a:gd name="T63" fmla="*/ 94 h 96"/>
                <a:gd name="T64" fmla="*/ 67 w 68"/>
                <a:gd name="T65" fmla="*/ 96 h 96"/>
                <a:gd name="T66" fmla="*/ 66 w 68"/>
                <a:gd name="T67" fmla="*/ 96 h 96"/>
                <a:gd name="T68" fmla="*/ 42 w 68"/>
                <a:gd name="T69" fmla="*/ 84 h 96"/>
                <a:gd name="T70" fmla="*/ 43 w 68"/>
                <a:gd name="T71" fmla="*/ 85 h 96"/>
                <a:gd name="T72" fmla="*/ 50 w 68"/>
                <a:gd name="T73" fmla="*/ 91 h 96"/>
                <a:gd name="T74" fmla="*/ 57 w 68"/>
                <a:gd name="T75" fmla="*/ 85 h 96"/>
                <a:gd name="T76" fmla="*/ 59 w 68"/>
                <a:gd name="T77" fmla="*/ 85 h 96"/>
                <a:gd name="T78" fmla="*/ 64 w 68"/>
                <a:gd name="T79" fmla="*/ 89 h 96"/>
                <a:gd name="T80" fmla="*/ 64 w 68"/>
                <a:gd name="T81" fmla="*/ 7 h 96"/>
                <a:gd name="T82" fmla="*/ 59 w 68"/>
                <a:gd name="T83" fmla="*/ 11 h 96"/>
                <a:gd name="T84" fmla="*/ 57 w 68"/>
                <a:gd name="T85" fmla="*/ 11 h 96"/>
                <a:gd name="T86" fmla="*/ 50 w 68"/>
                <a:gd name="T87" fmla="*/ 5 h 96"/>
                <a:gd name="T88" fmla="*/ 43 w 68"/>
                <a:gd name="T89" fmla="*/ 11 h 96"/>
                <a:gd name="T90" fmla="*/ 41 w 68"/>
                <a:gd name="T91" fmla="*/ 11 h 96"/>
                <a:gd name="T92" fmla="*/ 34 w 68"/>
                <a:gd name="T93" fmla="*/ 5 h 96"/>
                <a:gd name="T94" fmla="*/ 27 w 68"/>
                <a:gd name="T95" fmla="*/ 11 h 96"/>
                <a:gd name="T96" fmla="*/ 25 w 68"/>
                <a:gd name="T97" fmla="*/ 11 h 96"/>
                <a:gd name="T98" fmla="*/ 18 w 68"/>
                <a:gd name="T99" fmla="*/ 5 h 96"/>
                <a:gd name="T100" fmla="*/ 11 w 68"/>
                <a:gd name="T101" fmla="*/ 11 h 96"/>
                <a:gd name="T102" fmla="*/ 9 w 68"/>
                <a:gd name="T103" fmla="*/ 11 h 96"/>
                <a:gd name="T104" fmla="*/ 4 w 68"/>
                <a:gd name="T105" fmla="*/ 7 h 96"/>
                <a:gd name="T106" fmla="*/ 4 w 68"/>
                <a:gd name="T107" fmla="*/ 89 h 96"/>
                <a:gd name="T108" fmla="*/ 9 w 68"/>
                <a:gd name="T109" fmla="*/ 85 h 96"/>
                <a:gd name="T110" fmla="*/ 11 w 68"/>
                <a:gd name="T111" fmla="*/ 85 h 96"/>
                <a:gd name="T112" fmla="*/ 18 w 68"/>
                <a:gd name="T113" fmla="*/ 91 h 96"/>
                <a:gd name="T114" fmla="*/ 25 w 68"/>
                <a:gd name="T115" fmla="*/ 85 h 96"/>
                <a:gd name="T116" fmla="*/ 27 w 68"/>
                <a:gd name="T117" fmla="*/ 85 h 96"/>
                <a:gd name="T118" fmla="*/ 34 w 68"/>
                <a:gd name="T119" fmla="*/ 91 h 96"/>
                <a:gd name="T120" fmla="*/ 41 w 68"/>
                <a:gd name="T121" fmla="*/ 85 h 96"/>
                <a:gd name="T122" fmla="*/ 42 w 68"/>
                <a:gd name="T123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8" h="96">
                  <a:moveTo>
                    <a:pt x="66" y="96"/>
                  </a:moveTo>
                  <a:cubicBezTo>
                    <a:pt x="65" y="96"/>
                    <a:pt x="65" y="96"/>
                    <a:pt x="65" y="95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6"/>
                    <a:pt x="49" y="96"/>
                    <a:pt x="49" y="95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35" y="95"/>
                    <a:pt x="35" y="95"/>
                    <a:pt x="35" y="95"/>
                  </a:cubicBezTo>
                  <a:cubicBezTo>
                    <a:pt x="35" y="96"/>
                    <a:pt x="33" y="96"/>
                    <a:pt x="33" y="95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6"/>
                    <a:pt x="17" y="96"/>
                    <a:pt x="17" y="95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3" y="96"/>
                    <a:pt x="2" y="96"/>
                    <a:pt x="1" y="96"/>
                  </a:cubicBezTo>
                  <a:cubicBezTo>
                    <a:pt x="0" y="96"/>
                    <a:pt x="0" y="95"/>
                    <a:pt x="0" y="9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0"/>
                    <a:pt x="19" y="0"/>
                    <a:pt x="19" y="1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0"/>
                    <a:pt x="35" y="0"/>
                    <a:pt x="35" y="1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0"/>
                    <a:pt x="51" y="0"/>
                    <a:pt x="51" y="1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5" y="0"/>
                    <a:pt x="66" y="0"/>
                    <a:pt x="67" y="0"/>
                  </a:cubicBezTo>
                  <a:cubicBezTo>
                    <a:pt x="68" y="0"/>
                    <a:pt x="68" y="1"/>
                    <a:pt x="68" y="2"/>
                  </a:cubicBezTo>
                  <a:cubicBezTo>
                    <a:pt x="68" y="94"/>
                    <a:pt x="68" y="94"/>
                    <a:pt x="68" y="94"/>
                  </a:cubicBezTo>
                  <a:cubicBezTo>
                    <a:pt x="68" y="95"/>
                    <a:pt x="68" y="96"/>
                    <a:pt x="67" y="96"/>
                  </a:cubicBezTo>
                  <a:cubicBezTo>
                    <a:pt x="67" y="96"/>
                    <a:pt x="66" y="96"/>
                    <a:pt x="66" y="96"/>
                  </a:cubicBezTo>
                  <a:close/>
                  <a:moveTo>
                    <a:pt x="42" y="84"/>
                  </a:moveTo>
                  <a:cubicBezTo>
                    <a:pt x="43" y="84"/>
                    <a:pt x="43" y="84"/>
                    <a:pt x="43" y="85"/>
                  </a:cubicBezTo>
                  <a:cubicBezTo>
                    <a:pt x="50" y="91"/>
                    <a:pt x="50" y="91"/>
                    <a:pt x="50" y="91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7" y="84"/>
                    <a:pt x="59" y="84"/>
                    <a:pt x="59" y="85"/>
                  </a:cubicBezTo>
                  <a:cubicBezTo>
                    <a:pt x="64" y="89"/>
                    <a:pt x="64" y="89"/>
                    <a:pt x="64" y="89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2"/>
                    <a:pt x="57" y="12"/>
                    <a:pt x="57" y="11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3" y="12"/>
                    <a:pt x="41" y="12"/>
                    <a:pt x="41" y="11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2"/>
                    <a:pt x="25" y="12"/>
                    <a:pt x="25" y="11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2"/>
                    <a:pt x="9" y="12"/>
                    <a:pt x="9" y="11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9" y="84"/>
                    <a:pt x="11" y="84"/>
                    <a:pt x="11" y="85"/>
                  </a:cubicBezTo>
                  <a:cubicBezTo>
                    <a:pt x="18" y="91"/>
                    <a:pt x="18" y="91"/>
                    <a:pt x="18" y="91"/>
                  </a:cubicBezTo>
                  <a:cubicBezTo>
                    <a:pt x="25" y="85"/>
                    <a:pt x="25" y="85"/>
                    <a:pt x="25" y="85"/>
                  </a:cubicBezTo>
                  <a:cubicBezTo>
                    <a:pt x="25" y="84"/>
                    <a:pt x="27" y="84"/>
                    <a:pt x="27" y="85"/>
                  </a:cubicBezTo>
                  <a:cubicBezTo>
                    <a:pt x="34" y="91"/>
                    <a:pt x="34" y="91"/>
                    <a:pt x="34" y="91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4"/>
                    <a:pt x="41" y="84"/>
                    <a:pt x="42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1" name="Freeform 860">
              <a:extLst>
                <a:ext uri="{FF2B5EF4-FFF2-40B4-BE49-F238E27FC236}">
                  <a16:creationId xmlns:a16="http://schemas.microsoft.com/office/drawing/2014/main" id="{7DA95482-34E9-4300-88AE-2CC554F96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3338513"/>
              <a:ext cx="136525" cy="15875"/>
            </a:xfrm>
            <a:custGeom>
              <a:avLst/>
              <a:gdLst>
                <a:gd name="T0" fmla="*/ 34 w 36"/>
                <a:gd name="T1" fmla="*/ 4 h 4"/>
                <a:gd name="T2" fmla="*/ 2 w 36"/>
                <a:gd name="T3" fmla="*/ 4 h 4"/>
                <a:gd name="T4" fmla="*/ 0 w 36"/>
                <a:gd name="T5" fmla="*/ 2 h 4"/>
                <a:gd name="T6" fmla="*/ 2 w 36"/>
                <a:gd name="T7" fmla="*/ 0 h 4"/>
                <a:gd name="T8" fmla="*/ 34 w 36"/>
                <a:gd name="T9" fmla="*/ 0 h 4"/>
                <a:gd name="T10" fmla="*/ 36 w 36"/>
                <a:gd name="T11" fmla="*/ 2 h 4"/>
                <a:gd name="T12" fmla="*/ 34 w 3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4">
                  <a:moveTo>
                    <a:pt x="3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6" y="1"/>
                    <a:pt x="36" y="2"/>
                  </a:cubicBezTo>
                  <a:cubicBezTo>
                    <a:pt x="36" y="3"/>
                    <a:pt x="35" y="4"/>
                    <a:pt x="3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2" name="Freeform 861">
              <a:extLst>
                <a:ext uri="{FF2B5EF4-FFF2-40B4-BE49-F238E27FC236}">
                  <a16:creationId xmlns:a16="http://schemas.microsoft.com/office/drawing/2014/main" id="{C230A55E-B9A4-4BED-A929-645428D690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3384550"/>
              <a:ext cx="76200" cy="14288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3" name="Freeform 862">
              <a:extLst>
                <a:ext uri="{FF2B5EF4-FFF2-40B4-BE49-F238E27FC236}">
                  <a16:creationId xmlns:a16="http://schemas.microsoft.com/office/drawing/2014/main" id="{F32389A7-1F6D-4972-B98A-0C6AE917A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3429000"/>
              <a:ext cx="76200" cy="15875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4" name="Freeform 863">
              <a:extLst>
                <a:ext uri="{FF2B5EF4-FFF2-40B4-BE49-F238E27FC236}">
                  <a16:creationId xmlns:a16="http://schemas.microsoft.com/office/drawing/2014/main" id="{48D19A3E-7C6B-49E4-A458-743444437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4950" y="3473450"/>
              <a:ext cx="60325" cy="15875"/>
            </a:xfrm>
            <a:custGeom>
              <a:avLst/>
              <a:gdLst>
                <a:gd name="T0" fmla="*/ 14 w 16"/>
                <a:gd name="T1" fmla="*/ 4 h 4"/>
                <a:gd name="T2" fmla="*/ 2 w 16"/>
                <a:gd name="T3" fmla="*/ 4 h 4"/>
                <a:gd name="T4" fmla="*/ 0 w 16"/>
                <a:gd name="T5" fmla="*/ 2 h 4"/>
                <a:gd name="T6" fmla="*/ 2 w 16"/>
                <a:gd name="T7" fmla="*/ 0 h 4"/>
                <a:gd name="T8" fmla="*/ 14 w 16"/>
                <a:gd name="T9" fmla="*/ 0 h 4"/>
                <a:gd name="T10" fmla="*/ 16 w 16"/>
                <a:gd name="T11" fmla="*/ 2 h 4"/>
                <a:gd name="T12" fmla="*/ 14 w 1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4">
                  <a:moveTo>
                    <a:pt x="14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2"/>
                  </a:cubicBezTo>
                  <a:cubicBezTo>
                    <a:pt x="16" y="3"/>
                    <a:pt x="15" y="4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5" name="Freeform 864">
              <a:extLst>
                <a:ext uri="{FF2B5EF4-FFF2-40B4-BE49-F238E27FC236}">
                  <a16:creationId xmlns:a16="http://schemas.microsoft.com/office/drawing/2014/main" id="{051D62AF-986F-4F81-848B-E56A54C93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3538" y="3503613"/>
              <a:ext cx="14288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6" name="Freeform 865">
              <a:extLst>
                <a:ext uri="{FF2B5EF4-FFF2-40B4-BE49-F238E27FC236}">
                  <a16:creationId xmlns:a16="http://schemas.microsoft.com/office/drawing/2014/main" id="{244C93F8-F787-4204-BAA9-1810C593A2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3538" y="3398838"/>
              <a:ext cx="14288" cy="30163"/>
            </a:xfrm>
            <a:custGeom>
              <a:avLst/>
              <a:gdLst>
                <a:gd name="T0" fmla="*/ 2 w 4"/>
                <a:gd name="T1" fmla="*/ 8 h 8"/>
                <a:gd name="T2" fmla="*/ 0 w 4"/>
                <a:gd name="T3" fmla="*/ 6 h 8"/>
                <a:gd name="T4" fmla="*/ 0 w 4"/>
                <a:gd name="T5" fmla="*/ 2 h 8"/>
                <a:gd name="T6" fmla="*/ 2 w 4"/>
                <a:gd name="T7" fmla="*/ 0 h 8"/>
                <a:gd name="T8" fmla="*/ 4 w 4"/>
                <a:gd name="T9" fmla="*/ 2 h 8"/>
                <a:gd name="T10" fmla="*/ 4 w 4"/>
                <a:gd name="T11" fmla="*/ 6 h 8"/>
                <a:gd name="T12" fmla="*/ 2 w 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cubicBezTo>
                    <a:pt x="1" y="8"/>
                    <a:pt x="0" y="7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3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57" name="Freeform 866">
              <a:extLst>
                <a:ext uri="{FF2B5EF4-FFF2-40B4-BE49-F238E27FC236}">
                  <a16:creationId xmlns:a16="http://schemas.microsoft.com/office/drawing/2014/main" id="{690D3DCE-8994-45B0-8397-C8BC4B136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1313" y="3414713"/>
              <a:ext cx="58738" cy="104775"/>
            </a:xfrm>
            <a:custGeom>
              <a:avLst/>
              <a:gdLst>
                <a:gd name="T0" fmla="*/ 8 w 16"/>
                <a:gd name="T1" fmla="*/ 28 h 28"/>
                <a:gd name="T2" fmla="*/ 0 w 16"/>
                <a:gd name="T3" fmla="*/ 20 h 28"/>
                <a:gd name="T4" fmla="*/ 2 w 16"/>
                <a:gd name="T5" fmla="*/ 18 h 28"/>
                <a:gd name="T6" fmla="*/ 4 w 16"/>
                <a:gd name="T7" fmla="*/ 20 h 28"/>
                <a:gd name="T8" fmla="*/ 8 w 16"/>
                <a:gd name="T9" fmla="*/ 24 h 28"/>
                <a:gd name="T10" fmla="*/ 12 w 16"/>
                <a:gd name="T11" fmla="*/ 20 h 28"/>
                <a:gd name="T12" fmla="*/ 8 w 16"/>
                <a:gd name="T13" fmla="*/ 16 h 28"/>
                <a:gd name="T14" fmla="*/ 0 w 16"/>
                <a:gd name="T15" fmla="*/ 8 h 28"/>
                <a:gd name="T16" fmla="*/ 8 w 16"/>
                <a:gd name="T17" fmla="*/ 0 h 28"/>
                <a:gd name="T18" fmla="*/ 16 w 16"/>
                <a:gd name="T19" fmla="*/ 8 h 28"/>
                <a:gd name="T20" fmla="*/ 14 w 16"/>
                <a:gd name="T21" fmla="*/ 10 h 28"/>
                <a:gd name="T22" fmla="*/ 12 w 16"/>
                <a:gd name="T23" fmla="*/ 8 h 28"/>
                <a:gd name="T24" fmla="*/ 8 w 16"/>
                <a:gd name="T25" fmla="*/ 4 h 28"/>
                <a:gd name="T26" fmla="*/ 4 w 16"/>
                <a:gd name="T27" fmla="*/ 8 h 28"/>
                <a:gd name="T28" fmla="*/ 8 w 16"/>
                <a:gd name="T29" fmla="*/ 12 h 28"/>
                <a:gd name="T30" fmla="*/ 16 w 16"/>
                <a:gd name="T31" fmla="*/ 20 h 28"/>
                <a:gd name="T32" fmla="*/ 8 w 16"/>
                <a:gd name="T3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28">
                  <a:moveTo>
                    <a:pt x="8" y="28"/>
                  </a:moveTo>
                  <a:cubicBezTo>
                    <a:pt x="4" y="28"/>
                    <a:pt x="0" y="24"/>
                    <a:pt x="0" y="20"/>
                  </a:cubicBezTo>
                  <a:cubicBezTo>
                    <a:pt x="0" y="19"/>
                    <a:pt x="1" y="18"/>
                    <a:pt x="2" y="18"/>
                  </a:cubicBezTo>
                  <a:cubicBezTo>
                    <a:pt x="3" y="18"/>
                    <a:pt x="4" y="19"/>
                    <a:pt x="4" y="20"/>
                  </a:cubicBezTo>
                  <a:cubicBezTo>
                    <a:pt x="4" y="22"/>
                    <a:pt x="6" y="24"/>
                    <a:pt x="8" y="24"/>
                  </a:cubicBezTo>
                  <a:cubicBezTo>
                    <a:pt x="10" y="24"/>
                    <a:pt x="12" y="22"/>
                    <a:pt x="12" y="20"/>
                  </a:cubicBezTo>
                  <a:cubicBezTo>
                    <a:pt x="12" y="18"/>
                    <a:pt x="10" y="16"/>
                    <a:pt x="8" y="16"/>
                  </a:cubicBezTo>
                  <a:cubicBezTo>
                    <a:pt x="4" y="16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6" y="4"/>
                    <a:pt x="16" y="8"/>
                  </a:cubicBezTo>
                  <a:cubicBezTo>
                    <a:pt x="16" y="9"/>
                    <a:pt x="15" y="10"/>
                    <a:pt x="14" y="10"/>
                  </a:cubicBezTo>
                  <a:cubicBezTo>
                    <a:pt x="13" y="10"/>
                    <a:pt x="12" y="9"/>
                    <a:pt x="12" y="8"/>
                  </a:cubicBezTo>
                  <a:cubicBezTo>
                    <a:pt x="12" y="6"/>
                    <a:pt x="10" y="4"/>
                    <a:pt x="8" y="4"/>
                  </a:cubicBezTo>
                  <a:cubicBezTo>
                    <a:pt x="6" y="4"/>
                    <a:pt x="4" y="6"/>
                    <a:pt x="4" y="8"/>
                  </a:cubicBezTo>
                  <a:cubicBezTo>
                    <a:pt x="4" y="10"/>
                    <a:pt x="6" y="12"/>
                    <a:pt x="8" y="12"/>
                  </a:cubicBezTo>
                  <a:cubicBezTo>
                    <a:pt x="12" y="12"/>
                    <a:pt x="16" y="16"/>
                    <a:pt x="16" y="20"/>
                  </a:cubicBezTo>
                  <a:cubicBezTo>
                    <a:pt x="16" y="24"/>
                    <a:pt x="12" y="28"/>
                    <a:pt x="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B10F857E-E4F8-46AA-A593-35AAF758E55C}"/>
              </a:ext>
            </a:extLst>
          </p:cNvPr>
          <p:cNvGrpSpPr/>
          <p:nvPr/>
        </p:nvGrpSpPr>
        <p:grpSpPr>
          <a:xfrm>
            <a:off x="541064" y="382712"/>
            <a:ext cx="2582174" cy="500937"/>
            <a:chOff x="423052" y="305730"/>
            <a:chExt cx="2582174" cy="500937"/>
          </a:xfrm>
          <a:gradFill>
            <a:gsLst>
              <a:gs pos="0">
                <a:srgbClr val="1669E0"/>
              </a:gs>
              <a:gs pos="100000">
                <a:srgbClr val="37A6FF"/>
              </a:gs>
            </a:gsLst>
            <a:lin ang="5400012" scaled="0"/>
          </a:gradFill>
        </p:grpSpPr>
        <p:sp>
          <p:nvSpPr>
            <p:cNvPr id="59" name="Rectangle: Rounded Corners 34">
              <a:extLst>
                <a:ext uri="{FF2B5EF4-FFF2-40B4-BE49-F238E27FC236}">
                  <a16:creationId xmlns:a16="http://schemas.microsoft.com/office/drawing/2014/main" id="{A2AD6D65-E6A7-4272-B142-8C61C4B04215}"/>
                </a:ext>
              </a:extLst>
            </p:cNvPr>
            <p:cNvSpPr/>
            <p:nvPr/>
          </p:nvSpPr>
          <p:spPr>
            <a:xfrm>
              <a:off x="815816" y="305730"/>
              <a:ext cx="1830269" cy="50093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r>
                <a:rPr lang="en-US">
                  <a:solidFill>
                    <a:prstClr val="white"/>
                  </a:solidFill>
                  <a:cs typeface="+mn-ea"/>
                  <a:sym typeface="+mn-lt"/>
                </a:rPr>
                <a:t> </a:t>
              </a:r>
              <a:endParaRPr lang="en-US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60" name="iṩļïḓè">
              <a:extLst>
                <a:ext uri="{FF2B5EF4-FFF2-40B4-BE49-F238E27FC236}">
                  <a16:creationId xmlns:a16="http://schemas.microsoft.com/office/drawing/2014/main" id="{1FC5ADED-E499-4561-BF68-2B1DD0F81CBF}"/>
                </a:ext>
              </a:extLst>
            </p:cNvPr>
            <p:cNvSpPr txBox="1"/>
            <p:nvPr/>
          </p:nvSpPr>
          <p:spPr bwMode="auto">
            <a:xfrm>
              <a:off x="943549" y="407694"/>
              <a:ext cx="1534794" cy="33865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solidFill>
                    <a:prstClr val="white"/>
                  </a:solidFill>
                  <a:latin typeface="Calibri" panose="020F05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dist" defTabSz="914400"/>
              <a:r>
                <a:rPr lang="en-US" altLang="zh-CN" sz="1400" dirty="0">
                  <a:solidFill>
                    <a:srgbClr val="0F65B4"/>
                  </a:solidFill>
                  <a:cs typeface="+mn-ea"/>
                  <a:sym typeface="+mn-lt"/>
                </a:rPr>
                <a:t>Jpppt.com</a:t>
              </a:r>
            </a:p>
          </p:txBody>
        </p:sp>
        <p:sp>
          <p:nvSpPr>
            <p:cNvPr id="61" name="椭圆 60">
              <a:extLst>
                <a:ext uri="{FF2B5EF4-FFF2-40B4-BE49-F238E27FC236}">
                  <a16:creationId xmlns:a16="http://schemas.microsoft.com/office/drawing/2014/main" id="{EB27DA1F-5AE1-47DA-83A1-AA9CF928B2F8}"/>
                </a:ext>
              </a:extLst>
            </p:cNvPr>
            <p:cNvSpPr/>
            <p:nvPr/>
          </p:nvSpPr>
          <p:spPr>
            <a:xfrm>
              <a:off x="423052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62" name="椭圆 61">
              <a:extLst>
                <a:ext uri="{FF2B5EF4-FFF2-40B4-BE49-F238E27FC236}">
                  <a16:creationId xmlns:a16="http://schemas.microsoft.com/office/drawing/2014/main" id="{E556FB07-A64B-421C-AF37-2DFDE6E50AFD}"/>
                </a:ext>
              </a:extLst>
            </p:cNvPr>
            <p:cNvSpPr/>
            <p:nvPr/>
          </p:nvSpPr>
          <p:spPr>
            <a:xfrm>
              <a:off x="2800384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4609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4="http://schemas.microsoft.com/office/drawing/2010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5" grpId="0" animBg="1"/>
      <p:bldP spid="36" grpId="0" animBg="1"/>
      <p:bldP spid="4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31">
            <a:extLst>
              <a:ext uri="{FF2B5EF4-FFF2-40B4-BE49-F238E27FC236}">
                <a16:creationId xmlns:a16="http://schemas.microsoft.com/office/drawing/2014/main" id="{E7FB9039-B1C0-49A1-A3BC-F55A9EA99967}"/>
              </a:ext>
            </a:extLst>
          </p:cNvPr>
          <p:cNvSpPr txBox="1"/>
          <p:nvPr/>
        </p:nvSpPr>
        <p:spPr>
          <a:xfrm rot="10800000" flipH="1">
            <a:off x="-20800" y="4080168"/>
            <a:ext cx="3841958" cy="2809874"/>
          </a:xfrm>
          <a:custGeom>
            <a:avLst/>
            <a:gdLst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66838"/>
              <a:gd name="connsiteX1" fmla="*/ 6674304 w 6674304"/>
              <a:gd name="connsiteY1" fmla="*/ 0 h 5966838"/>
              <a:gd name="connsiteX2" fmla="*/ 6672463 w 6674304"/>
              <a:gd name="connsiteY2" fmla="*/ 3528 h 5966838"/>
              <a:gd name="connsiteX3" fmla="*/ 6142663 w 6674304"/>
              <a:gd name="connsiteY3" fmla="*/ 1686835 h 5966838"/>
              <a:gd name="connsiteX4" fmla="*/ 4132917 w 6674304"/>
              <a:gd name="connsiteY4" fmla="*/ 2753737 h 5966838"/>
              <a:gd name="connsiteX5" fmla="*/ 3289320 w 6674304"/>
              <a:gd name="connsiteY5" fmla="*/ 4862728 h 5966838"/>
              <a:gd name="connsiteX6" fmla="*/ 1763402 w 6674304"/>
              <a:gd name="connsiteY6" fmla="*/ 5954443 h 5966838"/>
              <a:gd name="connsiteX7" fmla="*/ 63803 w 6674304"/>
              <a:gd name="connsiteY7" fmla="*/ 5470616 h 5966838"/>
              <a:gd name="connsiteX8" fmla="*/ 0 w 6674304"/>
              <a:gd name="connsiteY8" fmla="*/ 5467195 h 5966838"/>
              <a:gd name="connsiteX9" fmla="*/ 0 w 6674304"/>
              <a:gd name="connsiteY9" fmla="*/ 0 h 5966838"/>
              <a:gd name="connsiteX0" fmla="*/ 0 w 6674304"/>
              <a:gd name="connsiteY0" fmla="*/ 0 h 5954452"/>
              <a:gd name="connsiteX1" fmla="*/ 6674304 w 6674304"/>
              <a:gd name="connsiteY1" fmla="*/ 0 h 5954452"/>
              <a:gd name="connsiteX2" fmla="*/ 6672463 w 6674304"/>
              <a:gd name="connsiteY2" fmla="*/ 3528 h 5954452"/>
              <a:gd name="connsiteX3" fmla="*/ 6142663 w 6674304"/>
              <a:gd name="connsiteY3" fmla="*/ 1686835 h 5954452"/>
              <a:gd name="connsiteX4" fmla="*/ 4132917 w 6674304"/>
              <a:gd name="connsiteY4" fmla="*/ 2753737 h 5954452"/>
              <a:gd name="connsiteX5" fmla="*/ 3289320 w 6674304"/>
              <a:gd name="connsiteY5" fmla="*/ 4862728 h 5954452"/>
              <a:gd name="connsiteX6" fmla="*/ 1763402 w 6674304"/>
              <a:gd name="connsiteY6" fmla="*/ 5954443 h 5954452"/>
              <a:gd name="connsiteX7" fmla="*/ 63803 w 6674304"/>
              <a:gd name="connsiteY7" fmla="*/ 5470616 h 5954452"/>
              <a:gd name="connsiteX8" fmla="*/ 0 w 6674304"/>
              <a:gd name="connsiteY8" fmla="*/ 5467195 h 5954452"/>
              <a:gd name="connsiteX9" fmla="*/ 0 w 6674304"/>
              <a:gd name="connsiteY9" fmla="*/ 0 h 5954452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289320 w 6674304"/>
              <a:gd name="connsiteY5" fmla="*/ 486272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4443"/>
              <a:gd name="connsiteX1" fmla="*/ 6674304 w 6674304"/>
              <a:gd name="connsiteY1" fmla="*/ 0 h 5954443"/>
              <a:gd name="connsiteX2" fmla="*/ 6672463 w 6674304"/>
              <a:gd name="connsiteY2" fmla="*/ 3528 h 5954443"/>
              <a:gd name="connsiteX3" fmla="*/ 6142663 w 6674304"/>
              <a:gd name="connsiteY3" fmla="*/ 1686835 h 5954443"/>
              <a:gd name="connsiteX4" fmla="*/ 4132917 w 6674304"/>
              <a:gd name="connsiteY4" fmla="*/ 2753737 h 5954443"/>
              <a:gd name="connsiteX5" fmla="*/ 3323857 w 6674304"/>
              <a:gd name="connsiteY5" fmla="*/ 4880718 h 5954443"/>
              <a:gd name="connsiteX6" fmla="*/ 1763402 w 6674304"/>
              <a:gd name="connsiteY6" fmla="*/ 5954443 h 5954443"/>
              <a:gd name="connsiteX7" fmla="*/ 63803 w 6674304"/>
              <a:gd name="connsiteY7" fmla="*/ 5470616 h 5954443"/>
              <a:gd name="connsiteX8" fmla="*/ 0 w 6674304"/>
              <a:gd name="connsiteY8" fmla="*/ 5467195 h 5954443"/>
              <a:gd name="connsiteX9" fmla="*/ 0 w 6674304"/>
              <a:gd name="connsiteY9" fmla="*/ 0 h 5954443"/>
              <a:gd name="connsiteX0" fmla="*/ 0 w 6674304"/>
              <a:gd name="connsiteY0" fmla="*/ 0 h 5957613"/>
              <a:gd name="connsiteX1" fmla="*/ 6674304 w 6674304"/>
              <a:gd name="connsiteY1" fmla="*/ 0 h 5957613"/>
              <a:gd name="connsiteX2" fmla="*/ 6672463 w 6674304"/>
              <a:gd name="connsiteY2" fmla="*/ 3528 h 5957613"/>
              <a:gd name="connsiteX3" fmla="*/ 6142663 w 6674304"/>
              <a:gd name="connsiteY3" fmla="*/ 1686835 h 5957613"/>
              <a:gd name="connsiteX4" fmla="*/ 4132917 w 6674304"/>
              <a:gd name="connsiteY4" fmla="*/ 2753737 h 5957613"/>
              <a:gd name="connsiteX5" fmla="*/ 3323857 w 6674304"/>
              <a:gd name="connsiteY5" fmla="*/ 4880718 h 5957613"/>
              <a:gd name="connsiteX6" fmla="*/ 1763402 w 6674304"/>
              <a:gd name="connsiteY6" fmla="*/ 5954443 h 5957613"/>
              <a:gd name="connsiteX7" fmla="*/ 63803 w 6674304"/>
              <a:gd name="connsiteY7" fmla="*/ 5470616 h 5957613"/>
              <a:gd name="connsiteX8" fmla="*/ 0 w 6674304"/>
              <a:gd name="connsiteY8" fmla="*/ 5467195 h 5957613"/>
              <a:gd name="connsiteX9" fmla="*/ 0 w 6674304"/>
              <a:gd name="connsiteY9" fmla="*/ 0 h 5957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74304" h="5957613">
                <a:moveTo>
                  <a:pt x="0" y="0"/>
                </a:moveTo>
                <a:lnTo>
                  <a:pt x="6674304" y="0"/>
                </a:lnTo>
                <a:lnTo>
                  <a:pt x="6672463" y="3528"/>
                </a:lnTo>
                <a:cubicBezTo>
                  <a:pt x="6485641" y="423111"/>
                  <a:pt x="6718539" y="1011007"/>
                  <a:pt x="6142663" y="1686835"/>
                </a:cubicBezTo>
                <a:cubicBezTo>
                  <a:pt x="5728792" y="2172540"/>
                  <a:pt x="4602718" y="2221423"/>
                  <a:pt x="4132917" y="2753737"/>
                </a:cubicBezTo>
                <a:cubicBezTo>
                  <a:pt x="3663116" y="3286051"/>
                  <a:pt x="3658337" y="4266313"/>
                  <a:pt x="3323857" y="4880718"/>
                </a:cubicBezTo>
                <a:cubicBezTo>
                  <a:pt x="2989377" y="5495123"/>
                  <a:pt x="2577285" y="5862125"/>
                  <a:pt x="1763402" y="5954443"/>
                </a:cubicBezTo>
                <a:cubicBezTo>
                  <a:pt x="1230133" y="6001788"/>
                  <a:pt x="551766" y="5503698"/>
                  <a:pt x="63803" y="5470616"/>
                </a:cubicBezTo>
                <a:lnTo>
                  <a:pt x="0" y="5467195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0" marR="0" lvl="1" indent="0" algn="ctr" defTabSz="9144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kumimoji="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ID">
              <a:latin typeface="+mn-lt"/>
              <a:cs typeface="+mn-ea"/>
              <a:sym typeface="+mn-lt"/>
            </a:endParaRPr>
          </a:p>
        </p:txBody>
      </p:sp>
      <p:sp>
        <p:nvSpPr>
          <p:cNvPr id="26" name="Freeform: Shape 28">
            <a:extLst>
              <a:ext uri="{FF2B5EF4-FFF2-40B4-BE49-F238E27FC236}">
                <a16:creationId xmlns:a16="http://schemas.microsoft.com/office/drawing/2014/main" id="{BF709F12-0348-4592-B13A-EEAC8D372363}"/>
              </a:ext>
            </a:extLst>
          </p:cNvPr>
          <p:cNvSpPr/>
          <p:nvPr/>
        </p:nvSpPr>
        <p:spPr>
          <a:xfrm>
            <a:off x="5451676" y="0"/>
            <a:ext cx="6740324" cy="6858000"/>
          </a:xfrm>
          <a:custGeom>
            <a:avLst/>
            <a:gdLst>
              <a:gd name="connsiteX0" fmla="*/ 6050384 w 8632154"/>
              <a:gd name="connsiteY0" fmla="*/ 0 h 6858000"/>
              <a:gd name="connsiteX1" fmla="*/ 8632154 w 8632154"/>
              <a:gd name="connsiteY1" fmla="*/ 0 h 6858000"/>
              <a:gd name="connsiteX2" fmla="*/ 8632154 w 8632154"/>
              <a:gd name="connsiteY2" fmla="*/ 6858000 h 6858000"/>
              <a:gd name="connsiteX3" fmla="*/ 0 w 8632154"/>
              <a:gd name="connsiteY3" fmla="*/ 6858000 h 6858000"/>
              <a:gd name="connsiteX4" fmla="*/ 17136 w 8632154"/>
              <a:gd name="connsiteY4" fmla="*/ 6850412 h 6858000"/>
              <a:gd name="connsiteX5" fmla="*/ 1326096 w 8632154"/>
              <a:gd name="connsiteY5" fmla="*/ 5732390 h 6858000"/>
              <a:gd name="connsiteX6" fmla="*/ 2315345 w 8632154"/>
              <a:gd name="connsiteY6" fmla="*/ 3259269 h 6858000"/>
              <a:gd name="connsiteX7" fmla="*/ 4672086 w 8632154"/>
              <a:gd name="connsiteY7" fmla="*/ 2008159 h 6858000"/>
              <a:gd name="connsiteX8" fmla="*/ 5848499 w 8632154"/>
              <a:gd name="connsiteY8" fmla="*/ 9045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632154" h="6858000">
                <a:moveTo>
                  <a:pt x="6050384" y="0"/>
                </a:moveTo>
                <a:lnTo>
                  <a:pt x="8632154" y="0"/>
                </a:lnTo>
                <a:lnTo>
                  <a:pt x="8632154" y="6858000"/>
                </a:lnTo>
                <a:lnTo>
                  <a:pt x="0" y="6858000"/>
                </a:lnTo>
                <a:lnTo>
                  <a:pt x="17136" y="6850412"/>
                </a:lnTo>
                <a:cubicBezTo>
                  <a:pt x="500509" y="6620261"/>
                  <a:pt x="978767" y="6201556"/>
                  <a:pt x="1326096" y="5732390"/>
                </a:cubicBezTo>
                <a:cubicBezTo>
                  <a:pt x="1789202" y="5106837"/>
                  <a:pt x="1757679" y="3879973"/>
                  <a:pt x="2315345" y="3259269"/>
                </a:cubicBezTo>
                <a:cubicBezTo>
                  <a:pt x="2873010" y="2638564"/>
                  <a:pt x="4167763" y="2560976"/>
                  <a:pt x="4672086" y="2008159"/>
                </a:cubicBezTo>
                <a:cubicBezTo>
                  <a:pt x="5085790" y="1554678"/>
                  <a:pt x="4955167" y="563510"/>
                  <a:pt x="5848499" y="90459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 lang="en-ID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27" name="Google Shape;1023;p41">
            <a:extLst>
              <a:ext uri="{FF2B5EF4-FFF2-40B4-BE49-F238E27FC236}">
                <a16:creationId xmlns:a16="http://schemas.microsoft.com/office/drawing/2014/main" id="{E111C823-9906-4AD2-8EB4-35909D125165}"/>
              </a:ext>
            </a:extLst>
          </p:cNvPr>
          <p:cNvSpPr/>
          <p:nvPr/>
        </p:nvSpPr>
        <p:spPr>
          <a:xfrm>
            <a:off x="427735" y="1296773"/>
            <a:ext cx="11517337" cy="503046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chemeClr val="lt1"/>
              </a:solidFill>
              <a:cs typeface="+mn-ea"/>
              <a:sym typeface="+mn-lt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EB30120B-9C99-4B62-9529-7A3FEBA87F21}"/>
              </a:ext>
            </a:extLst>
          </p:cNvPr>
          <p:cNvGrpSpPr/>
          <p:nvPr/>
        </p:nvGrpSpPr>
        <p:grpSpPr>
          <a:xfrm>
            <a:off x="541064" y="382712"/>
            <a:ext cx="2582174" cy="500937"/>
            <a:chOff x="423052" y="305730"/>
            <a:chExt cx="2582174" cy="500937"/>
          </a:xfrm>
          <a:gradFill>
            <a:gsLst>
              <a:gs pos="0">
                <a:srgbClr val="1669E0"/>
              </a:gs>
              <a:gs pos="100000">
                <a:srgbClr val="37A6FF"/>
              </a:gs>
            </a:gsLst>
            <a:lin ang="5400012" scaled="0"/>
          </a:gradFill>
        </p:grpSpPr>
        <p:sp>
          <p:nvSpPr>
            <p:cNvPr id="21" name="Rectangle: Rounded Corners 34">
              <a:extLst>
                <a:ext uri="{FF2B5EF4-FFF2-40B4-BE49-F238E27FC236}">
                  <a16:creationId xmlns:a16="http://schemas.microsoft.com/office/drawing/2014/main" id="{B5D4A748-0DE1-4A85-B0B3-1CD6F753EFB0}"/>
                </a:ext>
              </a:extLst>
            </p:cNvPr>
            <p:cNvSpPr/>
            <p:nvPr/>
          </p:nvSpPr>
          <p:spPr>
            <a:xfrm>
              <a:off x="815816" y="305730"/>
              <a:ext cx="1830269" cy="500937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r>
                <a:rPr lang="en-US">
                  <a:solidFill>
                    <a:prstClr val="white"/>
                  </a:solidFill>
                  <a:cs typeface="+mn-ea"/>
                  <a:sym typeface="+mn-lt"/>
                </a:rPr>
                <a:t> </a:t>
              </a:r>
              <a:endParaRPr lang="en-US" dirty="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2" name="iṩļïḓè">
              <a:extLst>
                <a:ext uri="{FF2B5EF4-FFF2-40B4-BE49-F238E27FC236}">
                  <a16:creationId xmlns:a16="http://schemas.microsoft.com/office/drawing/2014/main" id="{0A51B54A-BFBA-4C10-B737-6EBE2D033ED5}"/>
                </a:ext>
              </a:extLst>
            </p:cNvPr>
            <p:cNvSpPr txBox="1"/>
            <p:nvPr/>
          </p:nvSpPr>
          <p:spPr bwMode="auto">
            <a:xfrm>
              <a:off x="943549" y="407694"/>
              <a:ext cx="1534794" cy="33865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en-US"/>
              </a:defPPr>
              <a:lvl1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solidFill>
                    <a:prstClr val="white"/>
                  </a:solidFill>
                  <a:latin typeface="Calibri" panose="020F050202020403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dist" defTabSz="914400"/>
              <a:r>
                <a:rPr lang="en-US" altLang="zh-CN" sz="1400" dirty="0">
                  <a:solidFill>
                    <a:srgbClr val="0F65B4"/>
                  </a:solidFill>
                  <a:cs typeface="+mn-ea"/>
                  <a:sym typeface="+mn-lt"/>
                </a:rPr>
                <a:t>Jpppt.com</a:t>
              </a:r>
            </a:p>
          </p:txBody>
        </p:sp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44168853-E355-430A-BEEB-45BFFA0DC82A}"/>
                </a:ext>
              </a:extLst>
            </p:cNvPr>
            <p:cNvSpPr/>
            <p:nvPr/>
          </p:nvSpPr>
          <p:spPr>
            <a:xfrm>
              <a:off x="423052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4" name="椭圆 23">
              <a:extLst>
                <a:ext uri="{FF2B5EF4-FFF2-40B4-BE49-F238E27FC236}">
                  <a16:creationId xmlns:a16="http://schemas.microsoft.com/office/drawing/2014/main" id="{805D7B7E-4A00-4830-8C2C-29340158B0CF}"/>
                </a:ext>
              </a:extLst>
            </p:cNvPr>
            <p:cNvSpPr/>
            <p:nvPr/>
          </p:nvSpPr>
          <p:spPr>
            <a:xfrm>
              <a:off x="2800384" y="453777"/>
              <a:ext cx="204842" cy="204842"/>
            </a:xfrm>
            <a:prstGeom prst="ellipse">
              <a:avLst/>
            </a:prstGeom>
            <a:gradFill flip="none" rotWithShape="1">
              <a:gsLst>
                <a:gs pos="0">
                  <a:srgbClr val="B9D2FD"/>
                </a:gs>
                <a:gs pos="100000">
                  <a:srgbClr val="0D3787"/>
                </a:gs>
              </a:gsLst>
              <a:lin ang="81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indent="-457200" algn="ctr" defTabSz="914400">
                <a:lnSpc>
                  <a:spcPct val="90000"/>
                </a:lnSpc>
                <a:spcBef>
                  <a:spcPts val="1000"/>
                </a:spcBef>
                <a:buSzPct val="100000"/>
              </a:pPr>
              <a:endParaRPr lang="zh-CN" altLang="en-US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0" name="Google Shape;170;p20">
            <a:extLst>
              <a:ext uri="{FF2B5EF4-FFF2-40B4-BE49-F238E27FC236}">
                <a16:creationId xmlns:a16="http://schemas.microsoft.com/office/drawing/2014/main" id="{C7A70A67-E221-4ABB-9305-D01CFF8AC35A}"/>
              </a:ext>
            </a:extLst>
          </p:cNvPr>
          <p:cNvSpPr/>
          <p:nvPr/>
        </p:nvSpPr>
        <p:spPr>
          <a:xfrm>
            <a:off x="791810" y="4159828"/>
            <a:ext cx="10972455" cy="39935"/>
          </a:xfrm>
          <a:custGeom>
            <a:avLst/>
            <a:gdLst/>
            <a:ahLst/>
            <a:cxnLst/>
            <a:rect l="l" t="t" r="r" b="b"/>
            <a:pathLst>
              <a:path w="287513" h="942" extrusionOk="0">
                <a:moveTo>
                  <a:pt x="476" y="0"/>
                </a:moveTo>
                <a:cubicBezTo>
                  <a:pt x="215" y="0"/>
                  <a:pt x="0" y="203"/>
                  <a:pt x="0" y="465"/>
                </a:cubicBezTo>
                <a:cubicBezTo>
                  <a:pt x="0" y="727"/>
                  <a:pt x="215" y="941"/>
                  <a:pt x="476" y="941"/>
                </a:cubicBezTo>
                <a:lnTo>
                  <a:pt x="287036" y="941"/>
                </a:lnTo>
                <a:cubicBezTo>
                  <a:pt x="287298" y="941"/>
                  <a:pt x="287512" y="727"/>
                  <a:pt x="287512" y="465"/>
                </a:cubicBezTo>
                <a:cubicBezTo>
                  <a:pt x="287512" y="203"/>
                  <a:pt x="287298" y="0"/>
                  <a:pt x="287036" y="0"/>
                </a:cubicBezTo>
                <a:close/>
              </a:path>
            </a:pathLst>
          </a:custGeom>
          <a:solidFill>
            <a:srgbClr val="0D3787"/>
          </a:solidFill>
          <a:ln>
            <a:solidFill>
              <a:srgbClr val="0D3787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1" name="Google Shape;171;p20">
            <a:extLst>
              <a:ext uri="{FF2B5EF4-FFF2-40B4-BE49-F238E27FC236}">
                <a16:creationId xmlns:a16="http://schemas.microsoft.com/office/drawing/2014/main" id="{698648AD-57B1-4FDE-A7B5-FC6133C8208D}"/>
              </a:ext>
            </a:extLst>
          </p:cNvPr>
          <p:cNvSpPr/>
          <p:nvPr/>
        </p:nvSpPr>
        <p:spPr>
          <a:xfrm>
            <a:off x="4346727" y="2505893"/>
            <a:ext cx="41940" cy="72728"/>
          </a:xfrm>
          <a:custGeom>
            <a:avLst/>
            <a:gdLst/>
            <a:ahLst/>
            <a:cxnLst/>
            <a:rect l="l" t="t" r="r" b="b"/>
            <a:pathLst>
              <a:path w="989" h="1715" extrusionOk="0">
                <a:moveTo>
                  <a:pt x="0" y="0"/>
                </a:moveTo>
                <a:lnTo>
                  <a:pt x="0" y="1715"/>
                </a:lnTo>
                <a:lnTo>
                  <a:pt x="988" y="1715"/>
                </a:lnTo>
                <a:lnTo>
                  <a:pt x="988" y="0"/>
                </a:lnTo>
                <a:close/>
              </a:path>
            </a:pathLst>
          </a:custGeom>
          <a:solidFill>
            <a:srgbClr val="0D3787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2" name="Google Shape;172;p20">
            <a:extLst>
              <a:ext uri="{FF2B5EF4-FFF2-40B4-BE49-F238E27FC236}">
                <a16:creationId xmlns:a16="http://schemas.microsoft.com/office/drawing/2014/main" id="{01700145-F247-4127-A96E-973744188C4A}"/>
              </a:ext>
            </a:extLst>
          </p:cNvPr>
          <p:cNvSpPr/>
          <p:nvPr/>
        </p:nvSpPr>
        <p:spPr>
          <a:xfrm>
            <a:off x="3496272" y="2533159"/>
            <a:ext cx="156565" cy="156565"/>
          </a:xfrm>
          <a:custGeom>
            <a:avLst/>
            <a:gdLst/>
            <a:ahLst/>
            <a:cxnLst/>
            <a:rect l="l" t="t" r="r" b="b"/>
            <a:pathLst>
              <a:path w="3692" h="3692" extrusionOk="0">
                <a:moveTo>
                  <a:pt x="1846" y="0"/>
                </a:moveTo>
                <a:cubicBezTo>
                  <a:pt x="834" y="0"/>
                  <a:pt x="0" y="822"/>
                  <a:pt x="0" y="1846"/>
                </a:cubicBezTo>
                <a:cubicBezTo>
                  <a:pt x="0" y="2858"/>
                  <a:pt x="834" y="3691"/>
                  <a:pt x="1846" y="3691"/>
                </a:cubicBezTo>
                <a:cubicBezTo>
                  <a:pt x="2870" y="3691"/>
                  <a:pt x="3691" y="2858"/>
                  <a:pt x="3691" y="1846"/>
                </a:cubicBezTo>
                <a:cubicBezTo>
                  <a:pt x="3691" y="822"/>
                  <a:pt x="2870" y="0"/>
                  <a:pt x="1846" y="0"/>
                </a:cubicBezTo>
                <a:close/>
              </a:path>
            </a:pathLst>
          </a:custGeom>
          <a:solidFill>
            <a:srgbClr val="0D3787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3" name="Google Shape;173;p20">
            <a:extLst>
              <a:ext uri="{FF2B5EF4-FFF2-40B4-BE49-F238E27FC236}">
                <a16:creationId xmlns:a16="http://schemas.microsoft.com/office/drawing/2014/main" id="{7EB0A611-ED13-4665-B793-64A199F386B1}"/>
              </a:ext>
            </a:extLst>
          </p:cNvPr>
          <p:cNvSpPr/>
          <p:nvPr/>
        </p:nvSpPr>
        <p:spPr>
          <a:xfrm>
            <a:off x="3512938" y="2549825"/>
            <a:ext cx="123233" cy="123233"/>
          </a:xfrm>
          <a:custGeom>
            <a:avLst/>
            <a:gdLst/>
            <a:ahLst/>
            <a:cxnLst/>
            <a:rect l="l" t="t" r="r" b="b"/>
            <a:pathLst>
              <a:path w="2906" h="2906" extrusionOk="0">
                <a:moveTo>
                  <a:pt x="1453" y="0"/>
                </a:moveTo>
                <a:cubicBezTo>
                  <a:pt x="655" y="0"/>
                  <a:pt x="0" y="643"/>
                  <a:pt x="0" y="1453"/>
                </a:cubicBezTo>
                <a:cubicBezTo>
                  <a:pt x="0" y="2250"/>
                  <a:pt x="655" y="2905"/>
                  <a:pt x="1453" y="2905"/>
                </a:cubicBezTo>
                <a:cubicBezTo>
                  <a:pt x="2250" y="2905"/>
                  <a:pt x="2905" y="2250"/>
                  <a:pt x="2905" y="1453"/>
                </a:cubicBezTo>
                <a:cubicBezTo>
                  <a:pt x="2905" y="643"/>
                  <a:pt x="2250" y="0"/>
                  <a:pt x="1453" y="0"/>
                </a:cubicBezTo>
                <a:close/>
              </a:path>
            </a:pathLst>
          </a:custGeom>
          <a:solidFill>
            <a:srgbClr val="0D3787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" name="Google Shape;174;p20">
            <a:extLst>
              <a:ext uri="{FF2B5EF4-FFF2-40B4-BE49-F238E27FC236}">
                <a16:creationId xmlns:a16="http://schemas.microsoft.com/office/drawing/2014/main" id="{6A1AEB6C-DA46-4431-955C-C34E35B1E274}"/>
              </a:ext>
            </a:extLst>
          </p:cNvPr>
          <p:cNvSpPr/>
          <p:nvPr/>
        </p:nvSpPr>
        <p:spPr>
          <a:xfrm>
            <a:off x="7734631" y="2533159"/>
            <a:ext cx="156565" cy="156565"/>
          </a:xfrm>
          <a:custGeom>
            <a:avLst/>
            <a:gdLst/>
            <a:ahLst/>
            <a:cxnLst/>
            <a:rect l="l" t="t" r="r" b="b"/>
            <a:pathLst>
              <a:path w="3692" h="3692" extrusionOk="0">
                <a:moveTo>
                  <a:pt x="1846" y="0"/>
                </a:moveTo>
                <a:cubicBezTo>
                  <a:pt x="834" y="0"/>
                  <a:pt x="1" y="822"/>
                  <a:pt x="1" y="1846"/>
                </a:cubicBezTo>
                <a:cubicBezTo>
                  <a:pt x="1" y="2858"/>
                  <a:pt x="834" y="3691"/>
                  <a:pt x="1846" y="3691"/>
                </a:cubicBezTo>
                <a:cubicBezTo>
                  <a:pt x="2870" y="3691"/>
                  <a:pt x="3692" y="2858"/>
                  <a:pt x="3692" y="1846"/>
                </a:cubicBezTo>
                <a:cubicBezTo>
                  <a:pt x="3692" y="822"/>
                  <a:pt x="2870" y="0"/>
                  <a:pt x="1846" y="0"/>
                </a:cubicBezTo>
                <a:close/>
              </a:path>
            </a:pathLst>
          </a:custGeom>
          <a:solidFill>
            <a:srgbClr val="0D3787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5" name="Google Shape;175;p20">
            <a:extLst>
              <a:ext uri="{FF2B5EF4-FFF2-40B4-BE49-F238E27FC236}">
                <a16:creationId xmlns:a16="http://schemas.microsoft.com/office/drawing/2014/main" id="{F2ED12F8-8351-4270-BCBF-7D773B746575}"/>
              </a:ext>
            </a:extLst>
          </p:cNvPr>
          <p:cNvSpPr/>
          <p:nvPr/>
        </p:nvSpPr>
        <p:spPr>
          <a:xfrm>
            <a:off x="7751297" y="2549825"/>
            <a:ext cx="123233" cy="123233"/>
          </a:xfrm>
          <a:custGeom>
            <a:avLst/>
            <a:gdLst/>
            <a:ahLst/>
            <a:cxnLst/>
            <a:rect l="l" t="t" r="r" b="b"/>
            <a:pathLst>
              <a:path w="2906" h="2906" extrusionOk="0">
                <a:moveTo>
                  <a:pt x="1453" y="0"/>
                </a:moveTo>
                <a:cubicBezTo>
                  <a:pt x="655" y="0"/>
                  <a:pt x="1" y="643"/>
                  <a:pt x="1" y="1453"/>
                </a:cubicBezTo>
                <a:cubicBezTo>
                  <a:pt x="1" y="2250"/>
                  <a:pt x="655" y="2905"/>
                  <a:pt x="1453" y="2905"/>
                </a:cubicBezTo>
                <a:cubicBezTo>
                  <a:pt x="2263" y="2905"/>
                  <a:pt x="2906" y="2250"/>
                  <a:pt x="2906" y="1453"/>
                </a:cubicBezTo>
                <a:cubicBezTo>
                  <a:pt x="2906" y="643"/>
                  <a:pt x="2263" y="0"/>
                  <a:pt x="1453" y="0"/>
                </a:cubicBezTo>
                <a:close/>
              </a:path>
            </a:pathLst>
          </a:custGeom>
          <a:solidFill>
            <a:srgbClr val="0D3787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6" name="Google Shape;176;p20">
            <a:extLst>
              <a:ext uri="{FF2B5EF4-FFF2-40B4-BE49-F238E27FC236}">
                <a16:creationId xmlns:a16="http://schemas.microsoft.com/office/drawing/2014/main" id="{91729351-D287-4EAC-9C3F-B2CF9C802EA6}"/>
              </a:ext>
            </a:extLst>
          </p:cNvPr>
          <p:cNvSpPr/>
          <p:nvPr/>
        </p:nvSpPr>
        <p:spPr>
          <a:xfrm>
            <a:off x="6364306" y="2505893"/>
            <a:ext cx="41940" cy="72728"/>
          </a:xfrm>
          <a:custGeom>
            <a:avLst/>
            <a:gdLst/>
            <a:ahLst/>
            <a:cxnLst/>
            <a:rect l="l" t="t" r="r" b="b"/>
            <a:pathLst>
              <a:path w="989" h="1715" extrusionOk="0">
                <a:moveTo>
                  <a:pt x="0" y="0"/>
                </a:moveTo>
                <a:lnTo>
                  <a:pt x="0" y="1715"/>
                </a:lnTo>
                <a:lnTo>
                  <a:pt x="988" y="1715"/>
                </a:lnTo>
                <a:lnTo>
                  <a:pt x="988" y="0"/>
                </a:lnTo>
                <a:close/>
              </a:path>
            </a:pathLst>
          </a:custGeom>
          <a:solidFill>
            <a:srgbClr val="0D3787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7" name="Google Shape;177;p20">
            <a:extLst>
              <a:ext uri="{FF2B5EF4-FFF2-40B4-BE49-F238E27FC236}">
                <a16:creationId xmlns:a16="http://schemas.microsoft.com/office/drawing/2014/main" id="{F99956A0-394F-4BC4-80DB-D44F6CDAED3F}"/>
              </a:ext>
            </a:extLst>
          </p:cNvPr>
          <p:cNvSpPr/>
          <p:nvPr/>
        </p:nvSpPr>
        <p:spPr>
          <a:xfrm>
            <a:off x="8483486" y="2505893"/>
            <a:ext cx="41940" cy="72728"/>
          </a:xfrm>
          <a:custGeom>
            <a:avLst/>
            <a:gdLst/>
            <a:ahLst/>
            <a:cxnLst/>
            <a:rect l="l" t="t" r="r" b="b"/>
            <a:pathLst>
              <a:path w="989" h="1715" extrusionOk="0">
                <a:moveTo>
                  <a:pt x="0" y="0"/>
                </a:moveTo>
                <a:lnTo>
                  <a:pt x="0" y="1715"/>
                </a:lnTo>
                <a:lnTo>
                  <a:pt x="989" y="1715"/>
                </a:lnTo>
                <a:lnTo>
                  <a:pt x="989" y="0"/>
                </a:lnTo>
                <a:close/>
              </a:path>
            </a:pathLst>
          </a:custGeom>
          <a:solidFill>
            <a:srgbClr val="0D3787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8" name="Google Shape;178;p20">
            <a:extLst>
              <a:ext uri="{FF2B5EF4-FFF2-40B4-BE49-F238E27FC236}">
                <a16:creationId xmlns:a16="http://schemas.microsoft.com/office/drawing/2014/main" id="{AD18C568-341E-40E4-9552-015D7E68CA49}"/>
              </a:ext>
            </a:extLst>
          </p:cNvPr>
          <p:cNvSpPr/>
          <p:nvPr/>
        </p:nvSpPr>
        <p:spPr>
          <a:xfrm>
            <a:off x="2392599" y="4074495"/>
            <a:ext cx="210549" cy="210592"/>
          </a:xfrm>
          <a:custGeom>
            <a:avLst/>
            <a:gdLst/>
            <a:ahLst/>
            <a:cxnLst/>
            <a:rect l="l" t="t" r="r" b="b"/>
            <a:pathLst>
              <a:path w="4965" h="4966" extrusionOk="0">
                <a:moveTo>
                  <a:pt x="2488" y="0"/>
                </a:moveTo>
                <a:cubicBezTo>
                  <a:pt x="1119" y="0"/>
                  <a:pt x="0" y="1108"/>
                  <a:pt x="0" y="2477"/>
                </a:cubicBezTo>
                <a:cubicBezTo>
                  <a:pt x="0" y="3858"/>
                  <a:pt x="1119" y="4965"/>
                  <a:pt x="2488" y="4965"/>
                </a:cubicBezTo>
                <a:cubicBezTo>
                  <a:pt x="3858" y="4965"/>
                  <a:pt x="4965" y="3858"/>
                  <a:pt x="4965" y="2477"/>
                </a:cubicBezTo>
                <a:cubicBezTo>
                  <a:pt x="4965" y="1108"/>
                  <a:pt x="3858" y="0"/>
                  <a:pt x="2488" y="0"/>
                </a:cubicBezTo>
                <a:close/>
              </a:path>
            </a:pathLst>
          </a:custGeom>
          <a:solidFill>
            <a:srgbClr val="0D3787"/>
          </a:solidFill>
          <a:ln>
            <a:solidFill>
              <a:srgbClr val="0D3787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9" name="Google Shape;179;p20">
            <a:extLst>
              <a:ext uri="{FF2B5EF4-FFF2-40B4-BE49-F238E27FC236}">
                <a16:creationId xmlns:a16="http://schemas.microsoft.com/office/drawing/2014/main" id="{9F82DD21-DA3D-4436-990C-645156D663D9}"/>
              </a:ext>
            </a:extLst>
          </p:cNvPr>
          <p:cNvSpPr/>
          <p:nvPr/>
        </p:nvSpPr>
        <p:spPr>
          <a:xfrm>
            <a:off x="2415284" y="4096715"/>
            <a:ext cx="165640" cy="165640"/>
          </a:xfrm>
          <a:custGeom>
            <a:avLst/>
            <a:gdLst/>
            <a:ahLst/>
            <a:cxnLst/>
            <a:rect l="l" t="t" r="r" b="b"/>
            <a:pathLst>
              <a:path w="3906" h="3906" extrusionOk="0">
                <a:moveTo>
                  <a:pt x="1953" y="0"/>
                </a:moveTo>
                <a:cubicBezTo>
                  <a:pt x="870" y="0"/>
                  <a:pt x="1" y="881"/>
                  <a:pt x="1" y="1953"/>
                </a:cubicBezTo>
                <a:cubicBezTo>
                  <a:pt x="1" y="3036"/>
                  <a:pt x="870" y="3905"/>
                  <a:pt x="1953" y="3905"/>
                </a:cubicBezTo>
                <a:cubicBezTo>
                  <a:pt x="3037" y="3905"/>
                  <a:pt x="3906" y="3036"/>
                  <a:pt x="3906" y="1953"/>
                </a:cubicBezTo>
                <a:cubicBezTo>
                  <a:pt x="3906" y="881"/>
                  <a:pt x="3037" y="0"/>
                  <a:pt x="1953" y="0"/>
                </a:cubicBezTo>
                <a:close/>
              </a:path>
            </a:pathLst>
          </a:custGeom>
          <a:solidFill>
            <a:srgbClr val="0D3787"/>
          </a:solidFill>
          <a:ln w="19050" cap="flat" cmpd="sng">
            <a:solidFill>
              <a:srgbClr val="0D37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5" name="Google Shape;180;p20">
            <a:extLst>
              <a:ext uri="{FF2B5EF4-FFF2-40B4-BE49-F238E27FC236}">
                <a16:creationId xmlns:a16="http://schemas.microsoft.com/office/drawing/2014/main" id="{C3621F0B-1E82-436F-ACC0-021C2E0125B7}"/>
              </a:ext>
            </a:extLst>
          </p:cNvPr>
          <p:cNvSpPr/>
          <p:nvPr/>
        </p:nvSpPr>
        <p:spPr>
          <a:xfrm>
            <a:off x="2227505" y="2262542"/>
            <a:ext cx="41940" cy="72728"/>
          </a:xfrm>
          <a:custGeom>
            <a:avLst/>
            <a:gdLst/>
            <a:ahLst/>
            <a:cxnLst/>
            <a:rect l="l" t="t" r="r" b="b"/>
            <a:pathLst>
              <a:path w="989" h="1715" extrusionOk="0">
                <a:moveTo>
                  <a:pt x="1" y="0"/>
                </a:moveTo>
                <a:lnTo>
                  <a:pt x="1" y="1715"/>
                </a:lnTo>
                <a:lnTo>
                  <a:pt x="989" y="1715"/>
                </a:lnTo>
                <a:lnTo>
                  <a:pt x="98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9" name="Google Shape;181;p20">
            <a:extLst>
              <a:ext uri="{FF2B5EF4-FFF2-40B4-BE49-F238E27FC236}">
                <a16:creationId xmlns:a16="http://schemas.microsoft.com/office/drawing/2014/main" id="{BC5FA619-C35A-482A-BAF3-44721272B97C}"/>
              </a:ext>
            </a:extLst>
          </p:cNvPr>
          <p:cNvSpPr/>
          <p:nvPr/>
        </p:nvSpPr>
        <p:spPr>
          <a:xfrm>
            <a:off x="1911468" y="1774804"/>
            <a:ext cx="1663189" cy="3317771"/>
          </a:xfrm>
          <a:custGeom>
            <a:avLst/>
            <a:gdLst/>
            <a:ahLst/>
            <a:cxnLst/>
            <a:rect l="l" t="t" r="r" b="b"/>
            <a:pathLst>
              <a:path w="39220" h="78237" fill="none" extrusionOk="0">
                <a:moveTo>
                  <a:pt x="39220" y="19611"/>
                </a:moveTo>
                <a:cubicBezTo>
                  <a:pt x="39220" y="8788"/>
                  <a:pt x="30445" y="1"/>
                  <a:pt x="19610" y="1"/>
                </a:cubicBezTo>
                <a:cubicBezTo>
                  <a:pt x="8775" y="1"/>
                  <a:pt x="0" y="8788"/>
                  <a:pt x="0" y="19611"/>
                </a:cubicBezTo>
                <a:cubicBezTo>
                  <a:pt x="0" y="28374"/>
                  <a:pt x="5751" y="35803"/>
                  <a:pt x="13681" y="38315"/>
                </a:cubicBezTo>
                <a:lnTo>
                  <a:pt x="13681" y="78237"/>
                </a:lnTo>
              </a:path>
            </a:pathLst>
          </a:custGeom>
          <a:noFill/>
          <a:ln w="28575" cap="flat" cmpd="sng">
            <a:solidFill>
              <a:srgbClr val="0D3787"/>
            </a:solidFill>
            <a:prstDash val="solid"/>
            <a:miter lim="11906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0" name="Google Shape;182;p20">
            <a:extLst>
              <a:ext uri="{FF2B5EF4-FFF2-40B4-BE49-F238E27FC236}">
                <a16:creationId xmlns:a16="http://schemas.microsoft.com/office/drawing/2014/main" id="{6C0794D4-9CB9-4F86-8305-17CDBF738BEF}"/>
              </a:ext>
            </a:extLst>
          </p:cNvPr>
          <p:cNvSpPr/>
          <p:nvPr/>
        </p:nvSpPr>
        <p:spPr>
          <a:xfrm>
            <a:off x="1996276" y="1859654"/>
            <a:ext cx="1493563" cy="1493520"/>
          </a:xfrm>
          <a:custGeom>
            <a:avLst/>
            <a:gdLst/>
            <a:ahLst/>
            <a:cxnLst/>
            <a:rect l="l" t="t" r="r" b="b"/>
            <a:pathLst>
              <a:path w="35220" h="35219" extrusionOk="0">
                <a:moveTo>
                  <a:pt x="17610" y="0"/>
                </a:moveTo>
                <a:cubicBezTo>
                  <a:pt x="7883" y="0"/>
                  <a:pt x="1" y="7894"/>
                  <a:pt x="1" y="17610"/>
                </a:cubicBezTo>
                <a:cubicBezTo>
                  <a:pt x="1" y="27337"/>
                  <a:pt x="7883" y="35219"/>
                  <a:pt x="17610" y="35219"/>
                </a:cubicBezTo>
                <a:cubicBezTo>
                  <a:pt x="27337" y="35219"/>
                  <a:pt x="35219" y="27337"/>
                  <a:pt x="35219" y="17610"/>
                </a:cubicBezTo>
                <a:cubicBezTo>
                  <a:pt x="35219" y="7894"/>
                  <a:pt x="27337" y="0"/>
                  <a:pt x="17610" y="0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31" name="Google Shape;183;p20">
            <a:extLst>
              <a:ext uri="{FF2B5EF4-FFF2-40B4-BE49-F238E27FC236}">
                <a16:creationId xmlns:a16="http://schemas.microsoft.com/office/drawing/2014/main" id="{1546CD88-165D-4B71-91BA-339F50D39213}"/>
              </a:ext>
            </a:extLst>
          </p:cNvPr>
          <p:cNvSpPr/>
          <p:nvPr/>
        </p:nvSpPr>
        <p:spPr>
          <a:xfrm>
            <a:off x="2254262" y="2125699"/>
            <a:ext cx="970476" cy="970476"/>
          </a:xfrm>
          <a:custGeom>
            <a:avLst/>
            <a:gdLst/>
            <a:ahLst/>
            <a:cxnLst/>
            <a:rect l="l" t="t" r="r" b="b"/>
            <a:pathLst>
              <a:path w="22885" h="22885" extrusionOk="0">
                <a:moveTo>
                  <a:pt x="11443" y="1"/>
                </a:moveTo>
                <a:cubicBezTo>
                  <a:pt x="5121" y="1"/>
                  <a:pt x="1" y="5120"/>
                  <a:pt x="1" y="11443"/>
                </a:cubicBezTo>
                <a:cubicBezTo>
                  <a:pt x="1" y="17765"/>
                  <a:pt x="5121" y="22885"/>
                  <a:pt x="11443" y="22885"/>
                </a:cubicBezTo>
                <a:cubicBezTo>
                  <a:pt x="17765" y="22885"/>
                  <a:pt x="22885" y="17765"/>
                  <a:pt x="22885" y="11443"/>
                </a:cubicBezTo>
                <a:cubicBezTo>
                  <a:pt x="22885" y="5120"/>
                  <a:pt x="17765" y="1"/>
                  <a:pt x="11443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4133" b="0" i="0" u="none" strike="noStrike" kern="0" cap="none" spc="0" normalizeH="0" baseline="0" noProof="0" dirty="0">
                <a:ln>
                  <a:noFill/>
                </a:ln>
                <a:solidFill>
                  <a:srgbClr val="0D3787"/>
                </a:solidFill>
                <a:effectLst/>
                <a:uLnTx/>
                <a:uFillTx/>
                <a:cs typeface="+mn-ea"/>
                <a:sym typeface="+mn-lt"/>
              </a:rPr>
              <a:t>1</a:t>
            </a:r>
            <a:endParaRPr kumimoji="0" sz="4133" b="0" i="0" u="none" strike="noStrike" kern="0" cap="none" spc="0" normalizeH="0" baseline="0" noProof="0" dirty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2" name="Google Shape;185;p20">
            <a:extLst>
              <a:ext uri="{FF2B5EF4-FFF2-40B4-BE49-F238E27FC236}">
                <a16:creationId xmlns:a16="http://schemas.microsoft.com/office/drawing/2014/main" id="{E5089BC1-F404-4A28-BB1E-D9BBAE7A47BC}"/>
              </a:ext>
            </a:extLst>
          </p:cNvPr>
          <p:cNvSpPr/>
          <p:nvPr/>
        </p:nvSpPr>
        <p:spPr>
          <a:xfrm>
            <a:off x="5615452" y="2533159"/>
            <a:ext cx="156565" cy="156565"/>
          </a:xfrm>
          <a:custGeom>
            <a:avLst/>
            <a:gdLst/>
            <a:ahLst/>
            <a:cxnLst/>
            <a:rect l="l" t="t" r="r" b="b"/>
            <a:pathLst>
              <a:path w="3692" h="3692" extrusionOk="0">
                <a:moveTo>
                  <a:pt x="1846" y="0"/>
                </a:moveTo>
                <a:cubicBezTo>
                  <a:pt x="834" y="0"/>
                  <a:pt x="0" y="822"/>
                  <a:pt x="0" y="1846"/>
                </a:cubicBezTo>
                <a:cubicBezTo>
                  <a:pt x="0" y="2858"/>
                  <a:pt x="834" y="3691"/>
                  <a:pt x="1846" y="3691"/>
                </a:cubicBezTo>
                <a:cubicBezTo>
                  <a:pt x="2870" y="3691"/>
                  <a:pt x="3691" y="2858"/>
                  <a:pt x="3691" y="1846"/>
                </a:cubicBezTo>
                <a:cubicBezTo>
                  <a:pt x="3691" y="822"/>
                  <a:pt x="2870" y="0"/>
                  <a:pt x="1846" y="0"/>
                </a:cubicBezTo>
                <a:close/>
              </a:path>
            </a:pathLst>
          </a:custGeom>
          <a:solidFill>
            <a:srgbClr val="0D3787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3" name="Google Shape;186;p20">
            <a:extLst>
              <a:ext uri="{FF2B5EF4-FFF2-40B4-BE49-F238E27FC236}">
                <a16:creationId xmlns:a16="http://schemas.microsoft.com/office/drawing/2014/main" id="{0408AD08-5512-48B6-8989-623E0E5ED23B}"/>
              </a:ext>
            </a:extLst>
          </p:cNvPr>
          <p:cNvSpPr/>
          <p:nvPr/>
        </p:nvSpPr>
        <p:spPr>
          <a:xfrm>
            <a:off x="5632117" y="2549825"/>
            <a:ext cx="123233" cy="123233"/>
          </a:xfrm>
          <a:custGeom>
            <a:avLst/>
            <a:gdLst/>
            <a:ahLst/>
            <a:cxnLst/>
            <a:rect l="l" t="t" r="r" b="b"/>
            <a:pathLst>
              <a:path w="2906" h="2906" extrusionOk="0">
                <a:moveTo>
                  <a:pt x="1453" y="0"/>
                </a:moveTo>
                <a:cubicBezTo>
                  <a:pt x="655" y="0"/>
                  <a:pt x="0" y="643"/>
                  <a:pt x="0" y="1453"/>
                </a:cubicBezTo>
                <a:cubicBezTo>
                  <a:pt x="0" y="2250"/>
                  <a:pt x="655" y="2905"/>
                  <a:pt x="1453" y="2905"/>
                </a:cubicBezTo>
                <a:cubicBezTo>
                  <a:pt x="2263" y="2905"/>
                  <a:pt x="2905" y="2250"/>
                  <a:pt x="2905" y="1453"/>
                </a:cubicBezTo>
                <a:cubicBezTo>
                  <a:pt x="2905" y="643"/>
                  <a:pt x="2263" y="0"/>
                  <a:pt x="1453" y="0"/>
                </a:cubicBezTo>
                <a:close/>
              </a:path>
            </a:pathLst>
          </a:custGeom>
          <a:solidFill>
            <a:srgbClr val="0D3787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4" name="Google Shape;187;p20">
            <a:extLst>
              <a:ext uri="{FF2B5EF4-FFF2-40B4-BE49-F238E27FC236}">
                <a16:creationId xmlns:a16="http://schemas.microsoft.com/office/drawing/2014/main" id="{7D29AF40-1392-4B9F-9973-C96965575D3F}"/>
              </a:ext>
            </a:extLst>
          </p:cNvPr>
          <p:cNvSpPr/>
          <p:nvPr/>
        </p:nvSpPr>
        <p:spPr>
          <a:xfrm>
            <a:off x="4512287" y="4074495"/>
            <a:ext cx="210083" cy="210592"/>
          </a:xfrm>
          <a:custGeom>
            <a:avLst/>
            <a:gdLst/>
            <a:ahLst/>
            <a:cxnLst/>
            <a:rect l="l" t="t" r="r" b="b"/>
            <a:pathLst>
              <a:path w="4954" h="4966" extrusionOk="0">
                <a:moveTo>
                  <a:pt x="2477" y="0"/>
                </a:moveTo>
                <a:cubicBezTo>
                  <a:pt x="1107" y="0"/>
                  <a:pt x="0" y="1108"/>
                  <a:pt x="0" y="2477"/>
                </a:cubicBezTo>
                <a:cubicBezTo>
                  <a:pt x="0" y="3858"/>
                  <a:pt x="1107" y="4965"/>
                  <a:pt x="2477" y="4965"/>
                </a:cubicBezTo>
                <a:cubicBezTo>
                  <a:pt x="3846" y="4965"/>
                  <a:pt x="4953" y="3858"/>
                  <a:pt x="4953" y="2477"/>
                </a:cubicBezTo>
                <a:cubicBezTo>
                  <a:pt x="4953" y="1108"/>
                  <a:pt x="3846" y="0"/>
                  <a:pt x="2477" y="0"/>
                </a:cubicBezTo>
                <a:close/>
              </a:path>
            </a:pathLst>
          </a:custGeom>
          <a:solidFill>
            <a:srgbClr val="0D3787"/>
          </a:solidFill>
          <a:ln>
            <a:solidFill>
              <a:srgbClr val="0D3787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5" name="Google Shape;188;p20">
            <a:extLst>
              <a:ext uri="{FF2B5EF4-FFF2-40B4-BE49-F238E27FC236}">
                <a16:creationId xmlns:a16="http://schemas.microsoft.com/office/drawing/2014/main" id="{F9AECF8C-D58D-4820-A08E-ED5C354728B5}"/>
              </a:ext>
            </a:extLst>
          </p:cNvPr>
          <p:cNvSpPr/>
          <p:nvPr/>
        </p:nvSpPr>
        <p:spPr>
          <a:xfrm>
            <a:off x="4534507" y="4096715"/>
            <a:ext cx="165640" cy="165640"/>
          </a:xfrm>
          <a:custGeom>
            <a:avLst/>
            <a:gdLst/>
            <a:ahLst/>
            <a:cxnLst/>
            <a:rect l="l" t="t" r="r" b="b"/>
            <a:pathLst>
              <a:path w="3906" h="3906" extrusionOk="0">
                <a:moveTo>
                  <a:pt x="1953" y="0"/>
                </a:moveTo>
                <a:cubicBezTo>
                  <a:pt x="869" y="0"/>
                  <a:pt x="0" y="881"/>
                  <a:pt x="0" y="1953"/>
                </a:cubicBezTo>
                <a:cubicBezTo>
                  <a:pt x="0" y="3036"/>
                  <a:pt x="869" y="3905"/>
                  <a:pt x="1953" y="3905"/>
                </a:cubicBezTo>
                <a:cubicBezTo>
                  <a:pt x="3036" y="3905"/>
                  <a:pt x="3905" y="3036"/>
                  <a:pt x="3905" y="1953"/>
                </a:cubicBezTo>
                <a:cubicBezTo>
                  <a:pt x="3905" y="881"/>
                  <a:pt x="3036" y="0"/>
                  <a:pt x="1953" y="0"/>
                </a:cubicBezTo>
                <a:close/>
              </a:path>
            </a:pathLst>
          </a:custGeom>
          <a:solidFill>
            <a:srgbClr val="0D3787"/>
          </a:solidFill>
          <a:ln w="19050" cap="flat" cmpd="sng">
            <a:solidFill>
              <a:srgbClr val="0D37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6" name="Google Shape;189;p20">
            <a:extLst>
              <a:ext uri="{FF2B5EF4-FFF2-40B4-BE49-F238E27FC236}">
                <a16:creationId xmlns:a16="http://schemas.microsoft.com/office/drawing/2014/main" id="{D41B84DF-B258-4694-B8FA-F39E491A5ACA}"/>
              </a:ext>
            </a:extLst>
          </p:cNvPr>
          <p:cNvSpPr/>
          <p:nvPr/>
        </p:nvSpPr>
        <p:spPr>
          <a:xfrm>
            <a:off x="4030647" y="1774804"/>
            <a:ext cx="1663189" cy="3317771"/>
          </a:xfrm>
          <a:custGeom>
            <a:avLst/>
            <a:gdLst/>
            <a:ahLst/>
            <a:cxnLst/>
            <a:rect l="l" t="t" r="r" b="b"/>
            <a:pathLst>
              <a:path w="39220" h="78237" fill="none" extrusionOk="0">
                <a:moveTo>
                  <a:pt x="39220" y="19611"/>
                </a:moveTo>
                <a:cubicBezTo>
                  <a:pt x="39220" y="8788"/>
                  <a:pt x="30445" y="1"/>
                  <a:pt x="19610" y="1"/>
                </a:cubicBezTo>
                <a:cubicBezTo>
                  <a:pt x="8776" y="1"/>
                  <a:pt x="1" y="8788"/>
                  <a:pt x="1" y="19611"/>
                </a:cubicBezTo>
                <a:cubicBezTo>
                  <a:pt x="1" y="28374"/>
                  <a:pt x="5751" y="35803"/>
                  <a:pt x="13681" y="38315"/>
                </a:cubicBezTo>
                <a:lnTo>
                  <a:pt x="13681" y="78237"/>
                </a:lnTo>
              </a:path>
            </a:pathLst>
          </a:custGeom>
          <a:noFill/>
          <a:ln w="28575" cap="flat" cmpd="sng">
            <a:solidFill>
              <a:srgbClr val="0D3787"/>
            </a:solidFill>
            <a:prstDash val="solid"/>
            <a:miter lim="11906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7" name="Google Shape;190;p20">
            <a:extLst>
              <a:ext uri="{FF2B5EF4-FFF2-40B4-BE49-F238E27FC236}">
                <a16:creationId xmlns:a16="http://schemas.microsoft.com/office/drawing/2014/main" id="{77A7C511-23DA-4B34-8ACC-8A72FC36A28E}"/>
              </a:ext>
            </a:extLst>
          </p:cNvPr>
          <p:cNvSpPr/>
          <p:nvPr/>
        </p:nvSpPr>
        <p:spPr>
          <a:xfrm>
            <a:off x="4115483" y="1859654"/>
            <a:ext cx="1493563" cy="1493520"/>
          </a:xfrm>
          <a:custGeom>
            <a:avLst/>
            <a:gdLst/>
            <a:ahLst/>
            <a:cxnLst/>
            <a:rect l="l" t="t" r="r" b="b"/>
            <a:pathLst>
              <a:path w="35220" h="35219" extrusionOk="0">
                <a:moveTo>
                  <a:pt x="17610" y="0"/>
                </a:moveTo>
                <a:cubicBezTo>
                  <a:pt x="7883" y="0"/>
                  <a:pt x="1" y="7894"/>
                  <a:pt x="1" y="17610"/>
                </a:cubicBezTo>
                <a:cubicBezTo>
                  <a:pt x="1" y="27337"/>
                  <a:pt x="7883" y="35219"/>
                  <a:pt x="17610" y="35219"/>
                </a:cubicBezTo>
                <a:cubicBezTo>
                  <a:pt x="27338" y="35219"/>
                  <a:pt x="35220" y="27337"/>
                  <a:pt x="35220" y="17610"/>
                </a:cubicBezTo>
                <a:cubicBezTo>
                  <a:pt x="35220" y="7894"/>
                  <a:pt x="27338" y="0"/>
                  <a:pt x="17610" y="0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38" name="Google Shape;191;p20">
            <a:extLst>
              <a:ext uri="{FF2B5EF4-FFF2-40B4-BE49-F238E27FC236}">
                <a16:creationId xmlns:a16="http://schemas.microsoft.com/office/drawing/2014/main" id="{6A09E53E-144F-423E-A5A5-EE63B6538E64}"/>
              </a:ext>
            </a:extLst>
          </p:cNvPr>
          <p:cNvSpPr/>
          <p:nvPr/>
        </p:nvSpPr>
        <p:spPr>
          <a:xfrm>
            <a:off x="4373483" y="2125699"/>
            <a:ext cx="970435" cy="970476"/>
          </a:xfrm>
          <a:custGeom>
            <a:avLst/>
            <a:gdLst/>
            <a:ahLst/>
            <a:cxnLst/>
            <a:rect l="l" t="t" r="r" b="b"/>
            <a:pathLst>
              <a:path w="22884" h="22885" extrusionOk="0">
                <a:moveTo>
                  <a:pt x="11442" y="1"/>
                </a:moveTo>
                <a:cubicBezTo>
                  <a:pt x="5120" y="1"/>
                  <a:pt x="0" y="5120"/>
                  <a:pt x="0" y="11443"/>
                </a:cubicBezTo>
                <a:cubicBezTo>
                  <a:pt x="0" y="17765"/>
                  <a:pt x="5120" y="22885"/>
                  <a:pt x="11442" y="22885"/>
                </a:cubicBezTo>
                <a:cubicBezTo>
                  <a:pt x="17764" y="22885"/>
                  <a:pt x="22884" y="17765"/>
                  <a:pt x="22884" y="11443"/>
                </a:cubicBezTo>
                <a:cubicBezTo>
                  <a:pt x="22884" y="5120"/>
                  <a:pt x="17764" y="1"/>
                  <a:pt x="11442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4533" b="0" i="0" u="none" strike="noStrike" kern="0" cap="none" spc="0" normalizeH="0" baseline="0" noProof="0" dirty="0">
                <a:ln>
                  <a:noFill/>
                </a:ln>
                <a:solidFill>
                  <a:srgbClr val="0D3787"/>
                </a:solidFill>
                <a:effectLst/>
                <a:uLnTx/>
                <a:uFillTx/>
                <a:cs typeface="+mn-ea"/>
                <a:sym typeface="+mn-lt"/>
              </a:rPr>
              <a:t>2</a:t>
            </a:r>
            <a:endParaRPr kumimoji="0" sz="4533" b="0" i="0" u="none" strike="noStrike" kern="0" cap="none" spc="0" normalizeH="0" baseline="0" noProof="0" dirty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9" name="Google Shape;193;p20">
            <a:extLst>
              <a:ext uri="{FF2B5EF4-FFF2-40B4-BE49-F238E27FC236}">
                <a16:creationId xmlns:a16="http://schemas.microsoft.com/office/drawing/2014/main" id="{B108B176-F25E-4C11-B980-8DBE1B42116D}"/>
              </a:ext>
            </a:extLst>
          </p:cNvPr>
          <p:cNvSpPr/>
          <p:nvPr/>
        </p:nvSpPr>
        <p:spPr>
          <a:xfrm>
            <a:off x="6621883" y="4074495"/>
            <a:ext cx="210549" cy="210592"/>
          </a:xfrm>
          <a:custGeom>
            <a:avLst/>
            <a:gdLst/>
            <a:ahLst/>
            <a:cxnLst/>
            <a:rect l="l" t="t" r="r" b="b"/>
            <a:pathLst>
              <a:path w="4965" h="4966" extrusionOk="0">
                <a:moveTo>
                  <a:pt x="2477" y="0"/>
                </a:moveTo>
                <a:cubicBezTo>
                  <a:pt x="1107" y="0"/>
                  <a:pt x="0" y="1108"/>
                  <a:pt x="0" y="2477"/>
                </a:cubicBezTo>
                <a:cubicBezTo>
                  <a:pt x="0" y="3858"/>
                  <a:pt x="1107" y="4965"/>
                  <a:pt x="2477" y="4965"/>
                </a:cubicBezTo>
                <a:cubicBezTo>
                  <a:pt x="3858" y="4965"/>
                  <a:pt x="4965" y="3858"/>
                  <a:pt x="4965" y="2477"/>
                </a:cubicBezTo>
                <a:cubicBezTo>
                  <a:pt x="4965" y="1108"/>
                  <a:pt x="3858" y="0"/>
                  <a:pt x="2477" y="0"/>
                </a:cubicBezTo>
                <a:close/>
              </a:path>
            </a:pathLst>
          </a:custGeom>
          <a:solidFill>
            <a:srgbClr val="0D3787"/>
          </a:solidFill>
          <a:ln>
            <a:solidFill>
              <a:srgbClr val="0D3787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0" name="Google Shape;194;p20">
            <a:extLst>
              <a:ext uri="{FF2B5EF4-FFF2-40B4-BE49-F238E27FC236}">
                <a16:creationId xmlns:a16="http://schemas.microsoft.com/office/drawing/2014/main" id="{4DD0F92C-CB3B-4B8C-B356-1277CB53154B}"/>
              </a:ext>
            </a:extLst>
          </p:cNvPr>
          <p:cNvSpPr/>
          <p:nvPr/>
        </p:nvSpPr>
        <p:spPr>
          <a:xfrm>
            <a:off x="6644103" y="4096715"/>
            <a:ext cx="166149" cy="165640"/>
          </a:xfrm>
          <a:custGeom>
            <a:avLst/>
            <a:gdLst/>
            <a:ahLst/>
            <a:cxnLst/>
            <a:rect l="l" t="t" r="r" b="b"/>
            <a:pathLst>
              <a:path w="3918" h="3906" extrusionOk="0">
                <a:moveTo>
                  <a:pt x="1953" y="0"/>
                </a:moveTo>
                <a:cubicBezTo>
                  <a:pt x="881" y="0"/>
                  <a:pt x="0" y="881"/>
                  <a:pt x="0" y="1953"/>
                </a:cubicBezTo>
                <a:cubicBezTo>
                  <a:pt x="0" y="3036"/>
                  <a:pt x="881" y="3905"/>
                  <a:pt x="1953" y="3905"/>
                </a:cubicBezTo>
                <a:cubicBezTo>
                  <a:pt x="3036" y="3905"/>
                  <a:pt x="3917" y="3036"/>
                  <a:pt x="3917" y="1953"/>
                </a:cubicBezTo>
                <a:cubicBezTo>
                  <a:pt x="3917" y="881"/>
                  <a:pt x="3036" y="0"/>
                  <a:pt x="1953" y="0"/>
                </a:cubicBezTo>
                <a:close/>
              </a:path>
            </a:pathLst>
          </a:custGeom>
          <a:solidFill>
            <a:srgbClr val="0D3787"/>
          </a:solidFill>
          <a:ln w="19050" cap="flat" cmpd="sng">
            <a:solidFill>
              <a:srgbClr val="0D37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1" name="Google Shape;195;p20">
            <a:extLst>
              <a:ext uri="{FF2B5EF4-FFF2-40B4-BE49-F238E27FC236}">
                <a16:creationId xmlns:a16="http://schemas.microsoft.com/office/drawing/2014/main" id="{95B29032-D6DD-4B1F-B77D-55B8B87132AF}"/>
              </a:ext>
            </a:extLst>
          </p:cNvPr>
          <p:cNvSpPr/>
          <p:nvPr/>
        </p:nvSpPr>
        <p:spPr>
          <a:xfrm>
            <a:off x="6149827" y="1774804"/>
            <a:ext cx="1663232" cy="3317771"/>
          </a:xfrm>
          <a:custGeom>
            <a:avLst/>
            <a:gdLst/>
            <a:ahLst/>
            <a:cxnLst/>
            <a:rect l="l" t="t" r="r" b="b"/>
            <a:pathLst>
              <a:path w="39221" h="78237" fill="none" extrusionOk="0">
                <a:moveTo>
                  <a:pt x="39220" y="19611"/>
                </a:moveTo>
                <a:cubicBezTo>
                  <a:pt x="39220" y="8788"/>
                  <a:pt x="30445" y="1"/>
                  <a:pt x="19611" y="1"/>
                </a:cubicBezTo>
                <a:cubicBezTo>
                  <a:pt x="8776" y="1"/>
                  <a:pt x="1" y="8788"/>
                  <a:pt x="1" y="19611"/>
                </a:cubicBezTo>
                <a:cubicBezTo>
                  <a:pt x="1" y="28374"/>
                  <a:pt x="5752" y="35803"/>
                  <a:pt x="13681" y="38315"/>
                </a:cubicBezTo>
                <a:lnTo>
                  <a:pt x="13681" y="78237"/>
                </a:lnTo>
              </a:path>
            </a:pathLst>
          </a:custGeom>
          <a:noFill/>
          <a:ln w="28575" cap="flat" cmpd="sng">
            <a:solidFill>
              <a:srgbClr val="0D3787"/>
            </a:solidFill>
            <a:prstDash val="solid"/>
            <a:miter lim="11906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2" name="Google Shape;196;p20">
            <a:extLst>
              <a:ext uri="{FF2B5EF4-FFF2-40B4-BE49-F238E27FC236}">
                <a16:creationId xmlns:a16="http://schemas.microsoft.com/office/drawing/2014/main" id="{5C8B23C2-EFEE-43A7-8AE1-818DCC947DBD}"/>
              </a:ext>
            </a:extLst>
          </p:cNvPr>
          <p:cNvSpPr/>
          <p:nvPr/>
        </p:nvSpPr>
        <p:spPr>
          <a:xfrm>
            <a:off x="6234691" y="1859654"/>
            <a:ext cx="1493520" cy="1493520"/>
          </a:xfrm>
          <a:custGeom>
            <a:avLst/>
            <a:gdLst/>
            <a:ahLst/>
            <a:cxnLst/>
            <a:rect l="l" t="t" r="r" b="b"/>
            <a:pathLst>
              <a:path w="35219" h="35219" extrusionOk="0">
                <a:moveTo>
                  <a:pt x="17610" y="0"/>
                </a:moveTo>
                <a:cubicBezTo>
                  <a:pt x="7882" y="0"/>
                  <a:pt x="0" y="7894"/>
                  <a:pt x="0" y="17610"/>
                </a:cubicBezTo>
                <a:cubicBezTo>
                  <a:pt x="0" y="27337"/>
                  <a:pt x="7882" y="35219"/>
                  <a:pt x="17610" y="35219"/>
                </a:cubicBezTo>
                <a:cubicBezTo>
                  <a:pt x="27337" y="35219"/>
                  <a:pt x="35219" y="27337"/>
                  <a:pt x="35219" y="17610"/>
                </a:cubicBezTo>
                <a:cubicBezTo>
                  <a:pt x="35219" y="7894"/>
                  <a:pt x="27337" y="0"/>
                  <a:pt x="17610" y="0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43" name="Google Shape;197;p20">
            <a:extLst>
              <a:ext uri="{FF2B5EF4-FFF2-40B4-BE49-F238E27FC236}">
                <a16:creationId xmlns:a16="http://schemas.microsoft.com/office/drawing/2014/main" id="{040A7C01-1C9B-4A65-AADB-F49C1728EEF9}"/>
              </a:ext>
            </a:extLst>
          </p:cNvPr>
          <p:cNvSpPr/>
          <p:nvPr/>
        </p:nvSpPr>
        <p:spPr>
          <a:xfrm>
            <a:off x="6492663" y="2125699"/>
            <a:ext cx="970435" cy="970476"/>
          </a:xfrm>
          <a:custGeom>
            <a:avLst/>
            <a:gdLst/>
            <a:ahLst/>
            <a:cxnLst/>
            <a:rect l="l" t="t" r="r" b="b"/>
            <a:pathLst>
              <a:path w="22884" h="22885" extrusionOk="0">
                <a:moveTo>
                  <a:pt x="11442" y="1"/>
                </a:moveTo>
                <a:cubicBezTo>
                  <a:pt x="5120" y="1"/>
                  <a:pt x="0" y="5120"/>
                  <a:pt x="0" y="11443"/>
                </a:cubicBezTo>
                <a:cubicBezTo>
                  <a:pt x="0" y="17765"/>
                  <a:pt x="5120" y="22885"/>
                  <a:pt x="11442" y="22885"/>
                </a:cubicBezTo>
                <a:cubicBezTo>
                  <a:pt x="17764" y="22885"/>
                  <a:pt x="22884" y="17765"/>
                  <a:pt x="22884" y="11443"/>
                </a:cubicBezTo>
                <a:cubicBezTo>
                  <a:pt x="22884" y="5120"/>
                  <a:pt x="17764" y="1"/>
                  <a:pt x="11442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4533" b="0" i="0" u="none" strike="noStrike" kern="0" cap="none" spc="0" normalizeH="0" baseline="0" noProof="0" dirty="0">
                <a:ln>
                  <a:noFill/>
                </a:ln>
                <a:solidFill>
                  <a:srgbClr val="0D3787"/>
                </a:solidFill>
                <a:effectLst/>
                <a:uLnTx/>
                <a:uFillTx/>
                <a:cs typeface="+mn-ea"/>
                <a:sym typeface="+mn-lt"/>
              </a:rPr>
              <a:t>3</a:t>
            </a:r>
            <a:endParaRPr kumimoji="0" sz="4533" b="0" i="0" u="none" strike="noStrike" kern="0" cap="none" spc="0" normalizeH="0" baseline="0" noProof="0" dirty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4" name="Google Shape;199;p20">
            <a:extLst>
              <a:ext uri="{FF2B5EF4-FFF2-40B4-BE49-F238E27FC236}">
                <a16:creationId xmlns:a16="http://schemas.microsoft.com/office/drawing/2014/main" id="{D17B5DC8-F104-48FB-A6E1-B3190F0B89B6}"/>
              </a:ext>
            </a:extLst>
          </p:cNvPr>
          <p:cNvSpPr/>
          <p:nvPr/>
        </p:nvSpPr>
        <p:spPr>
          <a:xfrm>
            <a:off x="8741571" y="4074495"/>
            <a:ext cx="210592" cy="210592"/>
          </a:xfrm>
          <a:custGeom>
            <a:avLst/>
            <a:gdLst/>
            <a:ahLst/>
            <a:cxnLst/>
            <a:rect l="l" t="t" r="r" b="b"/>
            <a:pathLst>
              <a:path w="4966" h="4966" extrusionOk="0">
                <a:moveTo>
                  <a:pt x="2477" y="0"/>
                </a:moveTo>
                <a:cubicBezTo>
                  <a:pt x="1108" y="0"/>
                  <a:pt x="0" y="1108"/>
                  <a:pt x="0" y="2477"/>
                </a:cubicBezTo>
                <a:cubicBezTo>
                  <a:pt x="0" y="3858"/>
                  <a:pt x="1108" y="4965"/>
                  <a:pt x="2477" y="4965"/>
                </a:cubicBezTo>
                <a:cubicBezTo>
                  <a:pt x="3846" y="4965"/>
                  <a:pt x="4965" y="3858"/>
                  <a:pt x="4965" y="2477"/>
                </a:cubicBezTo>
                <a:cubicBezTo>
                  <a:pt x="4965" y="1108"/>
                  <a:pt x="3846" y="0"/>
                  <a:pt x="2477" y="0"/>
                </a:cubicBezTo>
                <a:close/>
              </a:path>
            </a:pathLst>
          </a:custGeom>
          <a:solidFill>
            <a:srgbClr val="0D3787"/>
          </a:solidFill>
          <a:ln w="19050" cap="flat" cmpd="sng">
            <a:solidFill>
              <a:srgbClr val="0D378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5" name="Google Shape;200;p20">
            <a:extLst>
              <a:ext uri="{FF2B5EF4-FFF2-40B4-BE49-F238E27FC236}">
                <a16:creationId xmlns:a16="http://schemas.microsoft.com/office/drawing/2014/main" id="{CECCF392-98AE-4845-A7EA-AE5800AFB7CC}"/>
              </a:ext>
            </a:extLst>
          </p:cNvPr>
          <p:cNvSpPr/>
          <p:nvPr/>
        </p:nvSpPr>
        <p:spPr>
          <a:xfrm>
            <a:off x="8763791" y="4096715"/>
            <a:ext cx="165640" cy="165640"/>
          </a:xfrm>
          <a:custGeom>
            <a:avLst/>
            <a:gdLst/>
            <a:ahLst/>
            <a:cxnLst/>
            <a:rect l="l" t="t" r="r" b="b"/>
            <a:pathLst>
              <a:path w="3906" h="3906" extrusionOk="0">
                <a:moveTo>
                  <a:pt x="1953" y="0"/>
                </a:moveTo>
                <a:cubicBezTo>
                  <a:pt x="881" y="0"/>
                  <a:pt x="0" y="881"/>
                  <a:pt x="0" y="1953"/>
                </a:cubicBezTo>
                <a:cubicBezTo>
                  <a:pt x="0" y="3036"/>
                  <a:pt x="881" y="3905"/>
                  <a:pt x="1953" y="3905"/>
                </a:cubicBezTo>
                <a:cubicBezTo>
                  <a:pt x="3036" y="3905"/>
                  <a:pt x="3905" y="3036"/>
                  <a:pt x="3905" y="1953"/>
                </a:cubicBezTo>
                <a:cubicBezTo>
                  <a:pt x="3905" y="881"/>
                  <a:pt x="3036" y="0"/>
                  <a:pt x="1953" y="0"/>
                </a:cubicBezTo>
                <a:close/>
              </a:path>
            </a:pathLst>
          </a:custGeom>
          <a:solidFill>
            <a:srgbClr val="0D3787"/>
          </a:solidFill>
          <a:ln>
            <a:solidFill>
              <a:srgbClr val="0D3787"/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6" name="Google Shape;201;p20">
            <a:extLst>
              <a:ext uri="{FF2B5EF4-FFF2-40B4-BE49-F238E27FC236}">
                <a16:creationId xmlns:a16="http://schemas.microsoft.com/office/drawing/2014/main" id="{422582FF-1411-48BF-AD36-041F5CDF8FE5}"/>
              </a:ext>
            </a:extLst>
          </p:cNvPr>
          <p:cNvSpPr/>
          <p:nvPr/>
        </p:nvSpPr>
        <p:spPr>
          <a:xfrm>
            <a:off x="8269048" y="1774804"/>
            <a:ext cx="1663189" cy="3317771"/>
          </a:xfrm>
          <a:custGeom>
            <a:avLst/>
            <a:gdLst/>
            <a:ahLst/>
            <a:cxnLst/>
            <a:rect l="l" t="t" r="r" b="b"/>
            <a:pathLst>
              <a:path w="39220" h="78237" fill="none" extrusionOk="0">
                <a:moveTo>
                  <a:pt x="39219" y="19611"/>
                </a:moveTo>
                <a:cubicBezTo>
                  <a:pt x="39219" y="8788"/>
                  <a:pt x="30444" y="1"/>
                  <a:pt x="19610" y="1"/>
                </a:cubicBezTo>
                <a:cubicBezTo>
                  <a:pt x="8775" y="1"/>
                  <a:pt x="0" y="8788"/>
                  <a:pt x="0" y="19611"/>
                </a:cubicBezTo>
                <a:cubicBezTo>
                  <a:pt x="0" y="28374"/>
                  <a:pt x="5751" y="35803"/>
                  <a:pt x="13680" y="38315"/>
                </a:cubicBezTo>
                <a:lnTo>
                  <a:pt x="13680" y="78237"/>
                </a:lnTo>
              </a:path>
            </a:pathLst>
          </a:custGeom>
          <a:noFill/>
          <a:ln w="28575" cap="flat" cmpd="sng">
            <a:solidFill>
              <a:srgbClr val="0D3787"/>
            </a:solidFill>
            <a:prstDash val="solid"/>
            <a:miter lim="11906"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7" name="Google Shape;202;p20">
            <a:extLst>
              <a:ext uri="{FF2B5EF4-FFF2-40B4-BE49-F238E27FC236}">
                <a16:creationId xmlns:a16="http://schemas.microsoft.com/office/drawing/2014/main" id="{84B16F3F-FFB5-4B0E-87EF-095454A18CE3}"/>
              </a:ext>
            </a:extLst>
          </p:cNvPr>
          <p:cNvSpPr/>
          <p:nvPr/>
        </p:nvSpPr>
        <p:spPr>
          <a:xfrm>
            <a:off x="9853811" y="2533159"/>
            <a:ext cx="156565" cy="156565"/>
          </a:xfrm>
          <a:custGeom>
            <a:avLst/>
            <a:gdLst/>
            <a:ahLst/>
            <a:cxnLst/>
            <a:rect l="l" t="t" r="r" b="b"/>
            <a:pathLst>
              <a:path w="3692" h="3692" extrusionOk="0">
                <a:moveTo>
                  <a:pt x="1846" y="0"/>
                </a:moveTo>
                <a:cubicBezTo>
                  <a:pt x="834" y="0"/>
                  <a:pt x="1" y="822"/>
                  <a:pt x="1" y="1846"/>
                </a:cubicBezTo>
                <a:cubicBezTo>
                  <a:pt x="1" y="2858"/>
                  <a:pt x="834" y="3691"/>
                  <a:pt x="1846" y="3691"/>
                </a:cubicBezTo>
                <a:cubicBezTo>
                  <a:pt x="2870" y="3691"/>
                  <a:pt x="3692" y="2858"/>
                  <a:pt x="3692" y="1846"/>
                </a:cubicBezTo>
                <a:cubicBezTo>
                  <a:pt x="3692" y="822"/>
                  <a:pt x="2870" y="0"/>
                  <a:pt x="1846" y="0"/>
                </a:cubicBezTo>
                <a:close/>
              </a:path>
            </a:pathLst>
          </a:custGeom>
          <a:solidFill>
            <a:srgbClr val="0D3787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8" name="Google Shape;203;p20">
            <a:extLst>
              <a:ext uri="{FF2B5EF4-FFF2-40B4-BE49-F238E27FC236}">
                <a16:creationId xmlns:a16="http://schemas.microsoft.com/office/drawing/2014/main" id="{2689CA5B-030F-4450-A621-CF56F2EA55FB}"/>
              </a:ext>
            </a:extLst>
          </p:cNvPr>
          <p:cNvSpPr/>
          <p:nvPr/>
        </p:nvSpPr>
        <p:spPr>
          <a:xfrm>
            <a:off x="9870476" y="2549825"/>
            <a:ext cx="123233" cy="123233"/>
          </a:xfrm>
          <a:custGeom>
            <a:avLst/>
            <a:gdLst/>
            <a:ahLst/>
            <a:cxnLst/>
            <a:rect l="l" t="t" r="r" b="b"/>
            <a:pathLst>
              <a:path w="2906" h="2906" extrusionOk="0">
                <a:moveTo>
                  <a:pt x="1453" y="0"/>
                </a:moveTo>
                <a:cubicBezTo>
                  <a:pt x="656" y="0"/>
                  <a:pt x="1" y="643"/>
                  <a:pt x="1" y="1453"/>
                </a:cubicBezTo>
                <a:cubicBezTo>
                  <a:pt x="1" y="2250"/>
                  <a:pt x="656" y="2905"/>
                  <a:pt x="1453" y="2905"/>
                </a:cubicBezTo>
                <a:cubicBezTo>
                  <a:pt x="2263" y="2905"/>
                  <a:pt x="2906" y="2250"/>
                  <a:pt x="2906" y="1453"/>
                </a:cubicBezTo>
                <a:cubicBezTo>
                  <a:pt x="2906" y="643"/>
                  <a:pt x="2263" y="0"/>
                  <a:pt x="1453" y="0"/>
                </a:cubicBezTo>
                <a:close/>
              </a:path>
            </a:pathLst>
          </a:custGeom>
          <a:solidFill>
            <a:srgbClr val="0D3787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49" name="Google Shape;204;p20">
            <a:extLst>
              <a:ext uri="{FF2B5EF4-FFF2-40B4-BE49-F238E27FC236}">
                <a16:creationId xmlns:a16="http://schemas.microsoft.com/office/drawing/2014/main" id="{C477B3AE-33DD-4A11-8C6A-2C666B61D073}"/>
              </a:ext>
            </a:extLst>
          </p:cNvPr>
          <p:cNvSpPr/>
          <p:nvPr/>
        </p:nvSpPr>
        <p:spPr>
          <a:xfrm>
            <a:off x="8353856" y="1859654"/>
            <a:ext cx="1493520" cy="1493520"/>
          </a:xfrm>
          <a:custGeom>
            <a:avLst/>
            <a:gdLst/>
            <a:ahLst/>
            <a:cxnLst/>
            <a:rect l="l" t="t" r="r" b="b"/>
            <a:pathLst>
              <a:path w="35219" h="35219" extrusionOk="0">
                <a:moveTo>
                  <a:pt x="17610" y="0"/>
                </a:moveTo>
                <a:cubicBezTo>
                  <a:pt x="7882" y="0"/>
                  <a:pt x="0" y="7894"/>
                  <a:pt x="0" y="17610"/>
                </a:cubicBezTo>
                <a:cubicBezTo>
                  <a:pt x="0" y="27337"/>
                  <a:pt x="7882" y="35219"/>
                  <a:pt x="17610" y="35219"/>
                </a:cubicBezTo>
                <a:cubicBezTo>
                  <a:pt x="27337" y="35219"/>
                  <a:pt x="35219" y="27337"/>
                  <a:pt x="35219" y="17610"/>
                </a:cubicBezTo>
                <a:cubicBezTo>
                  <a:pt x="35219" y="7894"/>
                  <a:pt x="27337" y="0"/>
                  <a:pt x="17610" y="0"/>
                </a:cubicBezTo>
                <a:close/>
              </a:path>
            </a:pathLst>
          </a:custGeom>
          <a:gradFill flip="none" rotWithShape="1">
            <a:gsLst>
              <a:gs pos="0">
                <a:srgbClr val="B9D2FD"/>
              </a:gs>
              <a:gs pos="100000">
                <a:srgbClr val="0D3787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indent="-457200" algn="ctr" defTabSz="914400">
              <a:lnSpc>
                <a:spcPct val="90000"/>
              </a:lnSpc>
              <a:spcBef>
                <a:spcPts val="1000"/>
              </a:spcBef>
              <a:buSzPct val="100000"/>
            </a:pPr>
            <a:endParaRPr>
              <a:solidFill>
                <a:srgbClr val="0D3787"/>
              </a:solidFill>
              <a:cs typeface="+mn-ea"/>
              <a:sym typeface="+mn-lt"/>
            </a:endParaRPr>
          </a:p>
        </p:txBody>
      </p:sp>
      <p:sp>
        <p:nvSpPr>
          <p:cNvPr id="50" name="Google Shape;205;p20">
            <a:extLst>
              <a:ext uri="{FF2B5EF4-FFF2-40B4-BE49-F238E27FC236}">
                <a16:creationId xmlns:a16="http://schemas.microsoft.com/office/drawing/2014/main" id="{1D99B11E-86C3-4688-B705-4E23BEAE7564}"/>
              </a:ext>
            </a:extLst>
          </p:cNvPr>
          <p:cNvSpPr/>
          <p:nvPr/>
        </p:nvSpPr>
        <p:spPr>
          <a:xfrm>
            <a:off x="8611842" y="2125699"/>
            <a:ext cx="970476" cy="970476"/>
          </a:xfrm>
          <a:custGeom>
            <a:avLst/>
            <a:gdLst/>
            <a:ahLst/>
            <a:cxnLst/>
            <a:rect l="l" t="t" r="r" b="b"/>
            <a:pathLst>
              <a:path w="22885" h="22885" extrusionOk="0">
                <a:moveTo>
                  <a:pt x="11442" y="1"/>
                </a:moveTo>
                <a:cubicBezTo>
                  <a:pt x="5120" y="1"/>
                  <a:pt x="0" y="5120"/>
                  <a:pt x="0" y="11443"/>
                </a:cubicBezTo>
                <a:cubicBezTo>
                  <a:pt x="0" y="17765"/>
                  <a:pt x="5120" y="22885"/>
                  <a:pt x="11442" y="22885"/>
                </a:cubicBezTo>
                <a:cubicBezTo>
                  <a:pt x="17765" y="22885"/>
                  <a:pt x="22884" y="17765"/>
                  <a:pt x="22884" y="11443"/>
                </a:cubicBezTo>
                <a:cubicBezTo>
                  <a:pt x="22884" y="5120"/>
                  <a:pt x="17765" y="1"/>
                  <a:pt x="11442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4533" b="0" i="0" u="none" strike="noStrike" kern="0" cap="none" spc="0" normalizeH="0" baseline="0" noProof="0" dirty="0">
                <a:ln>
                  <a:noFill/>
                </a:ln>
                <a:solidFill>
                  <a:srgbClr val="0D3787"/>
                </a:solidFill>
                <a:effectLst/>
                <a:uLnTx/>
                <a:uFillTx/>
                <a:cs typeface="+mn-ea"/>
                <a:sym typeface="+mn-lt"/>
              </a:rPr>
              <a:t>4</a:t>
            </a:r>
            <a:endParaRPr kumimoji="0" sz="4533" b="0" i="0" u="none" strike="noStrike" kern="0" cap="none" spc="0" normalizeH="0" baseline="0" noProof="0" dirty="0">
              <a:ln>
                <a:noFill/>
              </a:ln>
              <a:solidFill>
                <a:srgbClr val="0D3787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52" name="Google Shape;2062;p40">
            <a:extLst>
              <a:ext uri="{FF2B5EF4-FFF2-40B4-BE49-F238E27FC236}">
                <a16:creationId xmlns:a16="http://schemas.microsoft.com/office/drawing/2014/main" id="{07F1B4A6-E3EB-4B0F-83E7-10D639AD1D4C}"/>
              </a:ext>
            </a:extLst>
          </p:cNvPr>
          <p:cNvSpPr/>
          <p:nvPr/>
        </p:nvSpPr>
        <p:spPr>
          <a:xfrm>
            <a:off x="1426536" y="4612887"/>
            <a:ext cx="2069736" cy="128136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" dirty="0">
                <a:cs typeface="+mn-ea"/>
                <a:sym typeface="+mn-lt"/>
              </a:rPr>
              <a:t> </a:t>
            </a:r>
            <a:endParaRPr dirty="0">
              <a:cs typeface="+mn-ea"/>
              <a:sym typeface="+mn-lt"/>
            </a:endParaRPr>
          </a:p>
        </p:txBody>
      </p:sp>
      <p:sp>
        <p:nvSpPr>
          <p:cNvPr id="53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14928BE7-E22C-4E78-A65D-152162F96BBD}"/>
              </a:ext>
            </a:extLst>
          </p:cNvPr>
          <p:cNvSpPr txBox="1"/>
          <p:nvPr/>
        </p:nvSpPr>
        <p:spPr>
          <a:xfrm>
            <a:off x="1703589" y="4766651"/>
            <a:ext cx="1588568" cy="12396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</a:t>
            </a:r>
          </a:p>
        </p:txBody>
      </p:sp>
      <p:sp>
        <p:nvSpPr>
          <p:cNvPr id="54" name="Google Shape;2062;p40">
            <a:extLst>
              <a:ext uri="{FF2B5EF4-FFF2-40B4-BE49-F238E27FC236}">
                <a16:creationId xmlns:a16="http://schemas.microsoft.com/office/drawing/2014/main" id="{12A10C54-2094-488D-851E-D0E032A620DF}"/>
              </a:ext>
            </a:extLst>
          </p:cNvPr>
          <p:cNvSpPr/>
          <p:nvPr/>
        </p:nvSpPr>
        <p:spPr>
          <a:xfrm>
            <a:off x="3769955" y="4598210"/>
            <a:ext cx="2069736" cy="128136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" dirty="0">
                <a:cs typeface="+mn-ea"/>
                <a:sym typeface="+mn-lt"/>
              </a:rPr>
              <a:t> </a:t>
            </a:r>
            <a:endParaRPr dirty="0">
              <a:cs typeface="+mn-ea"/>
              <a:sym typeface="+mn-lt"/>
            </a:endParaRPr>
          </a:p>
        </p:txBody>
      </p:sp>
      <p:sp>
        <p:nvSpPr>
          <p:cNvPr id="55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2A3BD874-830B-4CB3-8200-0709F5B85967}"/>
              </a:ext>
            </a:extLst>
          </p:cNvPr>
          <p:cNvSpPr txBox="1"/>
          <p:nvPr/>
        </p:nvSpPr>
        <p:spPr>
          <a:xfrm>
            <a:off x="4047008" y="4751974"/>
            <a:ext cx="1588568" cy="12396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</a:t>
            </a:r>
          </a:p>
        </p:txBody>
      </p:sp>
      <p:sp>
        <p:nvSpPr>
          <p:cNvPr id="56" name="Google Shape;2062;p40">
            <a:extLst>
              <a:ext uri="{FF2B5EF4-FFF2-40B4-BE49-F238E27FC236}">
                <a16:creationId xmlns:a16="http://schemas.microsoft.com/office/drawing/2014/main" id="{973C5AE4-B965-47EB-9E6C-2F75351B860C}"/>
              </a:ext>
            </a:extLst>
          </p:cNvPr>
          <p:cNvSpPr/>
          <p:nvPr/>
        </p:nvSpPr>
        <p:spPr>
          <a:xfrm>
            <a:off x="6109130" y="4611763"/>
            <a:ext cx="2069736" cy="128136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" dirty="0">
                <a:cs typeface="+mn-ea"/>
                <a:sym typeface="+mn-lt"/>
              </a:rPr>
              <a:t> </a:t>
            </a:r>
            <a:endParaRPr dirty="0">
              <a:cs typeface="+mn-ea"/>
              <a:sym typeface="+mn-lt"/>
            </a:endParaRPr>
          </a:p>
        </p:txBody>
      </p:sp>
      <p:sp>
        <p:nvSpPr>
          <p:cNvPr id="57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0C05D671-4B3C-4487-AB76-411780ED0013}"/>
              </a:ext>
            </a:extLst>
          </p:cNvPr>
          <p:cNvSpPr txBox="1"/>
          <p:nvPr/>
        </p:nvSpPr>
        <p:spPr>
          <a:xfrm>
            <a:off x="6386183" y="4765527"/>
            <a:ext cx="1588568" cy="12396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</a:t>
            </a:r>
          </a:p>
        </p:txBody>
      </p:sp>
      <p:sp>
        <p:nvSpPr>
          <p:cNvPr id="58" name="Google Shape;2062;p40">
            <a:extLst>
              <a:ext uri="{FF2B5EF4-FFF2-40B4-BE49-F238E27FC236}">
                <a16:creationId xmlns:a16="http://schemas.microsoft.com/office/drawing/2014/main" id="{EA0F7D81-B045-442C-91D1-1DD06DB2AD13}"/>
              </a:ext>
            </a:extLst>
          </p:cNvPr>
          <p:cNvSpPr/>
          <p:nvPr/>
        </p:nvSpPr>
        <p:spPr>
          <a:xfrm>
            <a:off x="8468644" y="4611763"/>
            <a:ext cx="2069736" cy="128136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0" dist="50800" dir="15540000" algn="ctr" rotWithShape="0">
              <a:srgbClr val="000000">
                <a:alpha val="2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" dirty="0">
                <a:cs typeface="+mn-ea"/>
                <a:sym typeface="+mn-lt"/>
              </a:rPr>
              <a:t> </a:t>
            </a:r>
            <a:endParaRPr dirty="0">
              <a:cs typeface="+mn-ea"/>
              <a:sym typeface="+mn-lt"/>
            </a:endParaRPr>
          </a:p>
        </p:txBody>
      </p:sp>
      <p:sp>
        <p:nvSpPr>
          <p:cNvPr id="59" name="Synergistically utilize technically sound portals with frictionless chains. Dramatically customize…">
            <a:extLst>
              <a:ext uri="{FF2B5EF4-FFF2-40B4-BE49-F238E27FC236}">
                <a16:creationId xmlns:a16="http://schemas.microsoft.com/office/drawing/2014/main" id="{FB49E1D9-EE21-4A01-82F2-B06CB517F273}"/>
              </a:ext>
            </a:extLst>
          </p:cNvPr>
          <p:cNvSpPr txBox="1"/>
          <p:nvPr/>
        </p:nvSpPr>
        <p:spPr>
          <a:xfrm>
            <a:off x="8745697" y="4765527"/>
            <a:ext cx="1588568" cy="12396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mc="http://schemas.openxmlformats.org/markup-compatibility/2006" xmlns:p14="http://schemas.microsoft.com/office/powerpoint/2010/main" xmlns:a16="http://schemas.microsoft.com/office/drawing/2014/main" xmlns="" val="1"/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412750" hangingPunct="0">
              <a:lnSpc>
                <a:spcPct val="150000"/>
              </a:lnSpc>
              <a:defRPr sz="2000" b="0">
                <a:solidFill>
                  <a:srgbClr val="1C1F25"/>
                </a:solidFill>
                <a:latin typeface="Roboto Bold"/>
                <a:ea typeface="Roboto Bold"/>
                <a:cs typeface="Roboto Bold"/>
                <a:sym typeface="Roboto Bold"/>
              </a:defRPr>
            </a:pPr>
            <a:r>
              <a:rPr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Synergistically utilize technically sound portals with</a:t>
            </a:r>
            <a:r>
              <a:rPr lang="en-US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,</a:t>
            </a:r>
            <a:r>
              <a:rPr lang="en-US" altLang="zh-CN" sz="1100" kern="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 Synergistically utilize technically</a:t>
            </a:r>
          </a:p>
        </p:txBody>
      </p:sp>
    </p:spTree>
    <p:extLst>
      <p:ext uri="{BB962C8B-B14F-4D97-AF65-F5344CB8AC3E}">
        <p14:creationId xmlns:p14="http://schemas.microsoft.com/office/powerpoint/2010/main" val="248552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0">
        <p:random/>
      </p:transition>
    </mc:Choice>
    <mc:Fallback xmlns:ma14="http://schemas.microsoft.com/office/mac/drawingml/2011/main" xmlns:a16="http://schemas.microsoft.com/office/drawing/2014/main" xmlns="">
      <p:transition spd="slow" advClick="0" advTm="0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5" grpId="0" animBg="1"/>
      <p:bldP spid="57" grpId="0" animBg="1"/>
      <p:bldP spid="5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PowerPoint 演示文稿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k8YQCQrgOjvDzQSPsj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ww.jpppt.co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u3hltcqr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ww.freeppt7.com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0</TotalTime>
  <Words>1254</Words>
  <Application>Microsoft Office PowerPoint</Application>
  <PresentationFormat>宽屏</PresentationFormat>
  <Paragraphs>211</Paragraphs>
  <Slides>25</Slides>
  <Notes>15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4" baseType="lpstr">
      <vt:lpstr>Roboto Bold</vt:lpstr>
      <vt:lpstr>等线</vt:lpstr>
      <vt:lpstr>微软雅黑</vt:lpstr>
      <vt:lpstr>Arial</vt:lpstr>
      <vt:lpstr>Calibri</vt:lpstr>
      <vt:lpstr>Calibri Light</vt:lpstr>
      <vt:lpstr>www.jpppt.com</vt:lpstr>
      <vt:lpstr>www.freeppt7.com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www.jpppt.com</Manager>
  <Company>www.jpppt.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s</dc:title>
  <dc:creator>www.jpppt.com</dc:creator>
  <cp:keywords>www.jpppt.com</cp:keywords>
  <dc:description>www.jpppt.com</dc:description>
  <cp:lastModifiedBy>宇 之灵</cp:lastModifiedBy>
  <cp:revision>421</cp:revision>
  <dcterms:created xsi:type="dcterms:W3CDTF">2019-03-29T12:25:33Z</dcterms:created>
  <dcterms:modified xsi:type="dcterms:W3CDTF">2021-03-16T09:55:06Z</dcterms:modified>
</cp:coreProperties>
</file>